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1" r:id="rId5"/>
  </p:sldMasterIdLst>
  <p:notesMasterIdLst>
    <p:notesMasterId r:id="rId12"/>
  </p:notesMasterIdLst>
  <p:sldIdLst>
    <p:sldId id="2141412432" r:id="rId6"/>
    <p:sldId id="2141412465" r:id="rId7"/>
    <p:sldId id="2141412466" r:id="rId8"/>
    <p:sldId id="2141412473" r:id="rId9"/>
    <p:sldId id="2141412471" r:id="rId10"/>
    <p:sldId id="2141412472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F14D42-C911-412E-8BC2-F184A1BFFBD0}">
          <p14:sldIdLst>
            <p14:sldId id="2141412432"/>
            <p14:sldId id="2141412465"/>
            <p14:sldId id="2141412466"/>
            <p14:sldId id="2141412473"/>
            <p14:sldId id="2141412471"/>
            <p14:sldId id="21414124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bor, Patrick" initials="PT" lastIdx="6" clrIdx="0">
    <p:extLst>
      <p:ext uri="{19B8F6BF-5375-455C-9EA6-DF929625EA0E}">
        <p15:presenceInfo xmlns:p15="http://schemas.microsoft.com/office/powerpoint/2012/main" userId="Tabor, Patrick" providerId="None"/>
      </p:ext>
    </p:extLst>
  </p:cmAuthor>
  <p:cmAuthor id="2" name="Sathiya Narayanan" initials="SNRV" lastIdx="1" clrIdx="1">
    <p:extLst>
      <p:ext uri="{19B8F6BF-5375-455C-9EA6-DF929625EA0E}">
        <p15:presenceInfo xmlns:p15="http://schemas.microsoft.com/office/powerpoint/2012/main" userId="Sathiya Narayan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A92"/>
    <a:srgbClr val="FFCCC9"/>
    <a:srgbClr val="FD675C"/>
    <a:srgbClr val="F2F2F2"/>
    <a:srgbClr val="FFE2E1"/>
    <a:srgbClr val="B2FCD8"/>
    <a:srgbClr val="05ADE9"/>
    <a:srgbClr val="EE110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6C32B3-91C6-426B-AD6A-C3950FE8F840}" v="50" dt="2021-02-23T14:59:54.5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57" autoAdjust="0"/>
  </p:normalViewPr>
  <p:slideViewPr>
    <p:cSldViewPr snapToGrid="0">
      <p:cViewPr varScale="1">
        <p:scale>
          <a:sx n="67" d="100"/>
          <a:sy n="67" d="100"/>
        </p:scale>
        <p:origin x="62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enidogan, Berna" userId="51bd40ea-79aa-4121-96a7-f03806e1d60f" providerId="ADAL" clId="{806C32B3-91C6-426B-AD6A-C3950FE8F840}"/>
    <pc:docChg chg="undo custSel addSld delSld modSld modSection">
      <pc:chgData name="Yenidogan, Berna" userId="51bd40ea-79aa-4121-96a7-f03806e1d60f" providerId="ADAL" clId="{806C32B3-91C6-426B-AD6A-C3950FE8F840}" dt="2021-02-23T14:59:54.593" v="2109"/>
      <pc:docMkLst>
        <pc:docMk/>
      </pc:docMkLst>
      <pc:sldChg chg="modSp">
        <pc:chgData name="Yenidogan, Berna" userId="51bd40ea-79aa-4121-96a7-f03806e1d60f" providerId="ADAL" clId="{806C32B3-91C6-426B-AD6A-C3950FE8F840}" dt="2021-02-16T14:18:50.156" v="21" actId="2711"/>
        <pc:sldMkLst>
          <pc:docMk/>
          <pc:sldMk cId="250102556" sldId="2141412432"/>
        </pc:sldMkLst>
        <pc:spChg chg="mod">
          <ac:chgData name="Yenidogan, Berna" userId="51bd40ea-79aa-4121-96a7-f03806e1d60f" providerId="ADAL" clId="{806C32B3-91C6-426B-AD6A-C3950FE8F840}" dt="2021-02-16T14:18:50.156" v="21" actId="2711"/>
          <ac:spMkLst>
            <pc:docMk/>
            <pc:sldMk cId="250102556" sldId="2141412432"/>
            <ac:spMk id="6" creationId="{71AE71E6-7778-40BC-9B98-79C1D9B73D61}"/>
          </ac:spMkLst>
        </pc:spChg>
      </pc:sldChg>
      <pc:sldChg chg="addSp delSp modSp del modTransition">
        <pc:chgData name="Yenidogan, Berna" userId="51bd40ea-79aa-4121-96a7-f03806e1d60f" providerId="ADAL" clId="{806C32B3-91C6-426B-AD6A-C3950FE8F840}" dt="2021-02-16T14:17:58.680" v="10" actId="2696"/>
        <pc:sldMkLst>
          <pc:docMk/>
          <pc:sldMk cId="3388655605" sldId="2141412440"/>
        </pc:sldMkLst>
        <pc:spChg chg="add del mod">
          <ac:chgData name="Yenidogan, Berna" userId="51bd40ea-79aa-4121-96a7-f03806e1d60f" providerId="ADAL" clId="{806C32B3-91C6-426B-AD6A-C3950FE8F840}" dt="2021-02-16T14:16:58.732" v="1"/>
          <ac:spMkLst>
            <pc:docMk/>
            <pc:sldMk cId="3388655605" sldId="2141412440"/>
            <ac:spMk id="2" creationId="{FA402A2C-B2C5-48CD-B14A-E4E0FACE4FDB}"/>
          </ac:spMkLst>
        </pc:spChg>
        <pc:spChg chg="add del mod">
          <ac:chgData name="Yenidogan, Berna" userId="51bd40ea-79aa-4121-96a7-f03806e1d60f" providerId="ADAL" clId="{806C32B3-91C6-426B-AD6A-C3950FE8F840}" dt="2021-02-16T14:16:58.732" v="1"/>
          <ac:spMkLst>
            <pc:docMk/>
            <pc:sldMk cId="3388655605" sldId="2141412440"/>
            <ac:spMk id="4" creationId="{0AE7EC75-7642-49D5-95AA-75A00DB8AC63}"/>
          </ac:spMkLst>
        </pc:spChg>
        <pc:spChg chg="add del mod">
          <ac:chgData name="Yenidogan, Berna" userId="51bd40ea-79aa-4121-96a7-f03806e1d60f" providerId="ADAL" clId="{806C32B3-91C6-426B-AD6A-C3950FE8F840}" dt="2021-02-16T14:17:04.052" v="3" actId="478"/>
          <ac:spMkLst>
            <pc:docMk/>
            <pc:sldMk cId="3388655605" sldId="2141412440"/>
            <ac:spMk id="5" creationId="{342CEB0A-BE7D-480F-9C39-D13300295E6C}"/>
          </ac:spMkLst>
        </pc:spChg>
        <pc:spChg chg="add del mod">
          <ac:chgData name="Yenidogan, Berna" userId="51bd40ea-79aa-4121-96a7-f03806e1d60f" providerId="ADAL" clId="{806C32B3-91C6-426B-AD6A-C3950FE8F840}" dt="2021-02-16T14:17:02.088" v="2" actId="478"/>
          <ac:spMkLst>
            <pc:docMk/>
            <pc:sldMk cId="3388655605" sldId="2141412440"/>
            <ac:spMk id="6" creationId="{CE6FCE10-8C81-4700-AF39-6C778C7CDA6B}"/>
          </ac:spMkLst>
        </pc:spChg>
      </pc:sldChg>
      <pc:sldChg chg="addSp modSp del modTransition">
        <pc:chgData name="Yenidogan, Berna" userId="51bd40ea-79aa-4121-96a7-f03806e1d60f" providerId="ADAL" clId="{806C32B3-91C6-426B-AD6A-C3950FE8F840}" dt="2021-02-16T14:19:01.282" v="22" actId="2696"/>
        <pc:sldMkLst>
          <pc:docMk/>
          <pc:sldMk cId="568612634" sldId="2141412464"/>
        </pc:sldMkLst>
        <pc:spChg chg="add mod">
          <ac:chgData name="Yenidogan, Berna" userId="51bd40ea-79aa-4121-96a7-f03806e1d60f" providerId="ADAL" clId="{806C32B3-91C6-426B-AD6A-C3950FE8F840}" dt="2021-02-16T14:17:07.996" v="4"/>
          <ac:spMkLst>
            <pc:docMk/>
            <pc:sldMk cId="568612634" sldId="2141412464"/>
            <ac:spMk id="3" creationId="{68F07180-98AB-46D5-A701-5182F25CF762}"/>
          </ac:spMkLst>
        </pc:spChg>
        <pc:spChg chg="add mod">
          <ac:chgData name="Yenidogan, Berna" userId="51bd40ea-79aa-4121-96a7-f03806e1d60f" providerId="ADAL" clId="{806C32B3-91C6-426B-AD6A-C3950FE8F840}" dt="2021-02-16T14:17:07.996" v="4"/>
          <ac:spMkLst>
            <pc:docMk/>
            <pc:sldMk cId="568612634" sldId="2141412464"/>
            <ac:spMk id="4" creationId="{7686E38B-9A8B-49E5-8255-2F83E2A243F6}"/>
          </ac:spMkLst>
        </pc:spChg>
      </pc:sldChg>
      <pc:sldChg chg="addSp delSp modSp add modTransition">
        <pc:chgData name="Yenidogan, Berna" userId="51bd40ea-79aa-4121-96a7-f03806e1d60f" providerId="ADAL" clId="{806C32B3-91C6-426B-AD6A-C3950FE8F840}" dt="2021-02-16T14:17:50.708" v="9" actId="2711"/>
        <pc:sldMkLst>
          <pc:docMk/>
          <pc:sldMk cId="2794234534" sldId="2141412465"/>
        </pc:sldMkLst>
        <pc:spChg chg="add del mod">
          <ac:chgData name="Yenidogan, Berna" userId="51bd40ea-79aa-4121-96a7-f03806e1d60f" providerId="ADAL" clId="{806C32B3-91C6-426B-AD6A-C3950FE8F840}" dt="2021-02-16T14:17:39.234" v="7" actId="478"/>
          <ac:spMkLst>
            <pc:docMk/>
            <pc:sldMk cId="2794234534" sldId="2141412465"/>
            <ac:spMk id="2" creationId="{AF5F5961-9FB0-43A7-86BA-DC8C8E81476A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9" creationId="{CDD2BEB1-104E-4E73-8204-25DDD182F063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17" creationId="{C6931D14-CD0C-4FB8-BA0E-0C806A9E0534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19" creationId="{2AB8A40B-FC65-4509-ACF5-16E9332F356F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66" creationId="{DC57E3FC-00F2-4763-88BD-E803703681A5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67" creationId="{91C22BE5-9EF6-41B0-9201-510A5087EF53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68" creationId="{67F96A0B-D104-4246-B436-03C2D68C1FC1}"/>
          </ac:spMkLst>
        </pc:spChg>
        <pc:spChg chg="mod">
          <ac:chgData name="Yenidogan, Berna" userId="51bd40ea-79aa-4121-96a7-f03806e1d60f" providerId="ADAL" clId="{806C32B3-91C6-426B-AD6A-C3950FE8F840}" dt="2021-02-16T14:17:50.708" v="9" actId="2711"/>
          <ac:spMkLst>
            <pc:docMk/>
            <pc:sldMk cId="2794234534" sldId="2141412465"/>
            <ac:spMk id="69" creationId="{CC8C747D-9F77-4C9A-B6A0-A78A35EED4BC}"/>
          </ac:spMkLst>
        </pc:spChg>
      </pc:sldChg>
      <pc:sldChg chg="modSp add">
        <pc:chgData name="Yenidogan, Berna" userId="51bd40ea-79aa-4121-96a7-f03806e1d60f" providerId="ADAL" clId="{806C32B3-91C6-426B-AD6A-C3950FE8F840}" dt="2021-02-16T14:27:56.007" v="630" actId="207"/>
        <pc:sldMkLst>
          <pc:docMk/>
          <pc:sldMk cId="1119843302" sldId="2141412466"/>
        </pc:sldMkLst>
        <pc:spChg chg="mod">
          <ac:chgData name="Yenidogan, Berna" userId="51bd40ea-79aa-4121-96a7-f03806e1d60f" providerId="ADAL" clId="{806C32B3-91C6-426B-AD6A-C3950FE8F840}" dt="2021-02-16T14:18:32.939" v="20"/>
          <ac:spMkLst>
            <pc:docMk/>
            <pc:sldMk cId="1119843302" sldId="2141412466"/>
            <ac:spMk id="74" creationId="{1A681416-8F30-4B85-BE6E-D73B0887CCAF}"/>
          </ac:spMkLst>
        </pc:spChg>
        <pc:spChg chg="mod">
          <ac:chgData name="Yenidogan, Berna" userId="51bd40ea-79aa-4121-96a7-f03806e1d60f" providerId="ADAL" clId="{806C32B3-91C6-426B-AD6A-C3950FE8F840}" dt="2021-02-16T14:27:56.007" v="630" actId="207"/>
          <ac:spMkLst>
            <pc:docMk/>
            <pc:sldMk cId="1119843302" sldId="2141412466"/>
            <ac:spMk id="110" creationId="{232BAF1E-D961-4F9A-9B67-75B43AD77039}"/>
          </ac:spMkLst>
        </pc:spChg>
        <pc:spChg chg="mod">
          <ac:chgData name="Yenidogan, Berna" userId="51bd40ea-79aa-4121-96a7-f03806e1d60f" providerId="ADAL" clId="{806C32B3-91C6-426B-AD6A-C3950FE8F840}" dt="2021-02-16T14:27:56.007" v="630" actId="207"/>
          <ac:spMkLst>
            <pc:docMk/>
            <pc:sldMk cId="1119843302" sldId="2141412466"/>
            <ac:spMk id="111" creationId="{9C786EB2-013D-4A69-AA7E-117F715B04C1}"/>
          </ac:spMkLst>
        </pc:spChg>
        <pc:spChg chg="mod">
          <ac:chgData name="Yenidogan, Berna" userId="51bd40ea-79aa-4121-96a7-f03806e1d60f" providerId="ADAL" clId="{806C32B3-91C6-426B-AD6A-C3950FE8F840}" dt="2021-02-16T14:27:56.007" v="630" actId="207"/>
          <ac:spMkLst>
            <pc:docMk/>
            <pc:sldMk cId="1119843302" sldId="2141412466"/>
            <ac:spMk id="143" creationId="{89B961A2-0574-4517-AB6E-E18D22FCBD99}"/>
          </ac:spMkLst>
        </pc:spChg>
      </pc:sldChg>
      <pc:sldChg chg="add del">
        <pc:chgData name="Yenidogan, Berna" userId="51bd40ea-79aa-4121-96a7-f03806e1d60f" providerId="ADAL" clId="{806C32B3-91C6-426B-AD6A-C3950FE8F840}" dt="2021-02-16T14:20:14.312" v="89" actId="2696"/>
        <pc:sldMkLst>
          <pc:docMk/>
          <pc:sldMk cId="1733257903" sldId="2141412470"/>
        </pc:sldMkLst>
      </pc:sldChg>
      <pc:sldChg chg="addSp delSp modSp add">
        <pc:chgData name="Yenidogan, Berna" userId="51bd40ea-79aa-4121-96a7-f03806e1d60f" providerId="ADAL" clId="{806C32B3-91C6-426B-AD6A-C3950FE8F840}" dt="2021-02-18T13:59:51.646" v="1707" actId="14100"/>
        <pc:sldMkLst>
          <pc:docMk/>
          <pc:sldMk cId="2874716418" sldId="2141412471"/>
        </pc:sldMkLst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2" creationId="{68A39A4D-6ECF-43F0-8B8F-FA7E9EB50E57}"/>
          </ac:spMkLst>
        </pc:spChg>
        <pc:spChg chg="add mod">
          <ac:chgData name="Yenidogan, Berna" userId="51bd40ea-79aa-4121-96a7-f03806e1d60f" providerId="ADAL" clId="{806C32B3-91C6-426B-AD6A-C3950FE8F840}" dt="2021-02-16T14:27:22.469" v="586" actId="408"/>
          <ac:spMkLst>
            <pc:docMk/>
            <pc:sldMk cId="2874716418" sldId="2141412471"/>
            <ac:spMk id="35" creationId="{722CB3E4-801C-4373-9C07-7E6E7A9F7943}"/>
          </ac:spMkLst>
        </pc:spChg>
        <pc:spChg chg="add mod">
          <ac:chgData name="Yenidogan, Berna" userId="51bd40ea-79aa-4121-96a7-f03806e1d60f" providerId="ADAL" clId="{806C32B3-91C6-426B-AD6A-C3950FE8F840}" dt="2021-02-18T13:59:51.646" v="1707" actId="14100"/>
          <ac:spMkLst>
            <pc:docMk/>
            <pc:sldMk cId="2874716418" sldId="2141412471"/>
            <ac:spMk id="36" creationId="{E6A752DB-2ADC-409C-9A8C-C33302D7D054}"/>
          </ac:spMkLst>
        </pc:spChg>
        <pc:spChg chg="add mod">
          <ac:chgData name="Yenidogan, Berna" userId="51bd40ea-79aa-4121-96a7-f03806e1d60f" providerId="ADAL" clId="{806C32B3-91C6-426B-AD6A-C3950FE8F840}" dt="2021-02-16T14:27:22.469" v="586" actId="408"/>
          <ac:spMkLst>
            <pc:docMk/>
            <pc:sldMk cId="2874716418" sldId="2141412471"/>
            <ac:spMk id="37" creationId="{36E62F09-5F0F-4DD6-BACA-76866BC2BBDF}"/>
          </ac:spMkLst>
        </pc:spChg>
        <pc:spChg chg="add mod">
          <ac:chgData name="Yenidogan, Berna" userId="51bd40ea-79aa-4121-96a7-f03806e1d60f" providerId="ADAL" clId="{806C32B3-91C6-426B-AD6A-C3950FE8F840}" dt="2021-02-18T13:57:27.192" v="1565" actId="1035"/>
          <ac:spMkLst>
            <pc:docMk/>
            <pc:sldMk cId="2874716418" sldId="2141412471"/>
            <ac:spMk id="38" creationId="{939EEC73-D966-4F0E-8A20-5A3AED4121C0}"/>
          </ac:spMkLst>
        </pc:spChg>
        <pc:spChg chg="mod">
          <ac:chgData name="Yenidogan, Berna" userId="51bd40ea-79aa-4121-96a7-f03806e1d60f" providerId="ADAL" clId="{806C32B3-91C6-426B-AD6A-C3950FE8F840}" dt="2021-02-16T14:20:46.541" v="93" actId="207"/>
          <ac:spMkLst>
            <pc:docMk/>
            <pc:sldMk cId="2874716418" sldId="2141412471"/>
            <ac:spMk id="40" creationId="{374C24AA-29EC-4B08-8F24-77EECEC996BB}"/>
          </ac:spMkLst>
        </pc:spChg>
        <pc:spChg chg="mod">
          <ac:chgData name="Yenidogan, Berna" userId="51bd40ea-79aa-4121-96a7-f03806e1d60f" providerId="ADAL" clId="{806C32B3-91C6-426B-AD6A-C3950FE8F840}" dt="2021-02-16T14:21:05.405" v="97" actId="207"/>
          <ac:spMkLst>
            <pc:docMk/>
            <pc:sldMk cId="2874716418" sldId="2141412471"/>
            <ac:spMk id="41" creationId="{F84D43A8-ADA3-40D2-8E42-28F9634D50C1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42" creationId="{4F04CC2D-4DDA-4E2C-A1B9-50060EA66023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43" creationId="{FE643E5E-DDB1-40B3-A24D-E7B13C150566}"/>
          </ac:spMkLst>
        </pc:spChg>
        <pc:spChg chg="mod">
          <ac:chgData name="Yenidogan, Berna" userId="51bd40ea-79aa-4121-96a7-f03806e1d60f" providerId="ADAL" clId="{806C32B3-91C6-426B-AD6A-C3950FE8F840}" dt="2021-02-16T14:21:18.121" v="100" actId="20577"/>
          <ac:spMkLst>
            <pc:docMk/>
            <pc:sldMk cId="2874716418" sldId="2141412471"/>
            <ac:spMk id="48" creationId="{DA797580-9D96-462E-8BED-75BFDA8F55E9}"/>
          </ac:spMkLst>
        </pc:spChg>
        <pc:spChg chg="add mod">
          <ac:chgData name="Yenidogan, Berna" userId="51bd40ea-79aa-4121-96a7-f03806e1d60f" providerId="ADAL" clId="{806C32B3-91C6-426B-AD6A-C3950FE8F840}" dt="2021-02-16T14:27:22.469" v="586" actId="408"/>
          <ac:spMkLst>
            <pc:docMk/>
            <pc:sldMk cId="2874716418" sldId="2141412471"/>
            <ac:spMk id="49" creationId="{67908001-9662-4D3B-92A4-FF88C80605BF}"/>
          </ac:spMkLst>
        </pc:spChg>
        <pc:spChg chg="mod">
          <ac:chgData name="Yenidogan, Berna" userId="51bd40ea-79aa-4121-96a7-f03806e1d60f" providerId="ADAL" clId="{806C32B3-91C6-426B-AD6A-C3950FE8F840}" dt="2021-02-16T14:21:56.013" v="127" actId="20577"/>
          <ac:spMkLst>
            <pc:docMk/>
            <pc:sldMk cId="2874716418" sldId="2141412471"/>
            <ac:spMk id="52" creationId="{FBCB59C0-5048-4A1C-899E-1C1D8697D5D0}"/>
          </ac:spMkLst>
        </pc:spChg>
        <pc:spChg chg="add mod">
          <ac:chgData name="Yenidogan, Berna" userId="51bd40ea-79aa-4121-96a7-f03806e1d60f" providerId="ADAL" clId="{806C32B3-91C6-426B-AD6A-C3950FE8F840}" dt="2021-02-18T13:57:27.192" v="1565" actId="1035"/>
          <ac:spMkLst>
            <pc:docMk/>
            <pc:sldMk cId="2874716418" sldId="2141412471"/>
            <ac:spMk id="53" creationId="{2E57833D-2883-4459-BDE0-D2155E428FAE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64" creationId="{478F199D-66D9-4C9E-9A24-FCF954B94788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66" creationId="{DBA86336-3092-4D61-B26C-FB8285AF542A}"/>
          </ac:spMkLst>
        </pc:spChg>
        <pc:spChg chg="mod">
          <ac:chgData name="Yenidogan, Berna" userId="51bd40ea-79aa-4121-96a7-f03806e1d60f" providerId="ADAL" clId="{806C32B3-91C6-426B-AD6A-C3950FE8F840}" dt="2021-02-16T14:20:10.647" v="88" actId="5793"/>
          <ac:spMkLst>
            <pc:docMk/>
            <pc:sldMk cId="2874716418" sldId="2141412471"/>
            <ac:spMk id="74" creationId="{1A681416-8F30-4B85-BE6E-D73B0887CCAF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10" creationId="{232BAF1E-D961-4F9A-9B67-75B43AD77039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11" creationId="{9C786EB2-013D-4A69-AA7E-117F715B04C1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41" creationId="{8E026811-0E6C-43F0-A389-A9E568447109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42" creationId="{25DE563D-9736-4EE8-A109-43A1A99F2D4E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43" creationId="{89B961A2-0574-4517-AB6E-E18D22FCBD99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44" creationId="{2E3053BE-599C-4313-89E1-2C65C9D8EAA8}"/>
          </ac:spMkLst>
        </pc:spChg>
        <pc:spChg chg="del">
          <ac:chgData name="Yenidogan, Berna" userId="51bd40ea-79aa-4121-96a7-f03806e1d60f" providerId="ADAL" clId="{806C32B3-91C6-426B-AD6A-C3950FE8F840}" dt="2021-02-16T14:19:33.367" v="25" actId="478"/>
          <ac:spMkLst>
            <pc:docMk/>
            <pc:sldMk cId="2874716418" sldId="2141412471"/>
            <ac:spMk id="177" creationId="{BA3525DE-2493-4043-B2B0-C61DFB70EA66}"/>
          </ac:spMkLst>
        </pc:spChg>
        <pc:grpChg chg="add mod">
          <ac:chgData name="Yenidogan, Berna" userId="51bd40ea-79aa-4121-96a7-f03806e1d60f" providerId="ADAL" clId="{806C32B3-91C6-426B-AD6A-C3950FE8F840}" dt="2021-02-16T14:27:42.997" v="629" actId="1038"/>
          <ac:grpSpMkLst>
            <pc:docMk/>
            <pc:sldMk cId="2874716418" sldId="2141412471"/>
            <ac:grpSpMk id="39" creationId="{94AE2288-CD37-4FE2-A21E-EF5CA9F958F0}"/>
          </ac:grpSpMkLst>
        </pc:grpChg>
        <pc:grpChg chg="add mod">
          <ac:chgData name="Yenidogan, Berna" userId="51bd40ea-79aa-4121-96a7-f03806e1d60f" providerId="ADAL" clId="{806C32B3-91C6-426B-AD6A-C3950FE8F840}" dt="2021-02-16T14:27:36.800" v="620" actId="1037"/>
          <ac:grpSpMkLst>
            <pc:docMk/>
            <pc:sldMk cId="2874716418" sldId="2141412471"/>
            <ac:grpSpMk id="45" creationId="{FF748D00-B9A9-42BD-9789-3AB782FEE274}"/>
          </ac:grpSpMkLst>
        </pc:grpChg>
        <pc:grpChg chg="add mod">
          <ac:chgData name="Yenidogan, Berna" userId="51bd40ea-79aa-4121-96a7-f03806e1d60f" providerId="ADAL" clId="{806C32B3-91C6-426B-AD6A-C3950FE8F840}" dt="2021-02-16T14:27:31.789" v="607" actId="1038"/>
          <ac:grpSpMkLst>
            <pc:docMk/>
            <pc:sldMk cId="2874716418" sldId="2141412471"/>
            <ac:grpSpMk id="50" creationId="{5CF708EA-E562-4817-8115-4B32D4FB8569}"/>
          </ac:grpSpMkLst>
        </pc:grpChg>
        <pc:grpChg chg="del">
          <ac:chgData name="Yenidogan, Berna" userId="51bd40ea-79aa-4121-96a7-f03806e1d60f" providerId="ADAL" clId="{806C32B3-91C6-426B-AD6A-C3950FE8F840}" dt="2021-02-16T14:19:33.367" v="25" actId="478"/>
          <ac:grpSpMkLst>
            <pc:docMk/>
            <pc:sldMk cId="2874716418" sldId="2141412471"/>
            <ac:grpSpMk id="59" creationId="{9DB250CB-6B6B-4645-B5C9-54B5C72CA4BA}"/>
          </ac:grpSpMkLst>
        </pc:grpChg>
        <pc:grpChg chg="del">
          <ac:chgData name="Yenidogan, Berna" userId="51bd40ea-79aa-4121-96a7-f03806e1d60f" providerId="ADAL" clId="{806C32B3-91C6-426B-AD6A-C3950FE8F840}" dt="2021-02-16T14:19:33.367" v="25" actId="478"/>
          <ac:grpSpMkLst>
            <pc:docMk/>
            <pc:sldMk cId="2874716418" sldId="2141412471"/>
            <ac:grpSpMk id="132" creationId="{4996EC11-1F74-4EED-973E-8386227ED9D0}"/>
          </ac:grpSpMkLst>
        </pc:grpChg>
        <pc:grpChg chg="del">
          <ac:chgData name="Yenidogan, Berna" userId="51bd40ea-79aa-4121-96a7-f03806e1d60f" providerId="ADAL" clId="{806C32B3-91C6-426B-AD6A-C3950FE8F840}" dt="2021-02-16T14:19:33.367" v="25" actId="478"/>
          <ac:grpSpMkLst>
            <pc:docMk/>
            <pc:sldMk cId="2874716418" sldId="2141412471"/>
            <ac:grpSpMk id="145" creationId="{E8A0B13E-4783-4ED8-B05C-2FC565568851}"/>
          </ac:grpSpMkLst>
        </pc:grpChg>
        <pc:graphicFrameChg chg="del">
          <ac:chgData name="Yenidogan, Berna" userId="51bd40ea-79aa-4121-96a7-f03806e1d60f" providerId="ADAL" clId="{806C32B3-91C6-426B-AD6A-C3950FE8F840}" dt="2021-02-16T14:19:33.367" v="25" actId="478"/>
          <ac:graphicFrameMkLst>
            <pc:docMk/>
            <pc:sldMk cId="2874716418" sldId="2141412471"/>
            <ac:graphicFrameMk id="138" creationId="{A6573322-4CD1-44DA-A2F3-57502701BA67}"/>
          </ac:graphicFrameMkLst>
        </pc:graphicFrameChg>
        <pc:cxnChg chg="del mod">
          <ac:chgData name="Yenidogan, Berna" userId="51bd40ea-79aa-4121-96a7-f03806e1d60f" providerId="ADAL" clId="{806C32B3-91C6-426B-AD6A-C3950FE8F840}" dt="2021-02-16T14:19:33.367" v="25" actId="478"/>
          <ac:cxnSpMkLst>
            <pc:docMk/>
            <pc:sldMk cId="2874716418" sldId="2141412471"/>
            <ac:cxnSpMk id="13" creationId="{39C52E38-364B-4260-B06C-52402202405C}"/>
          </ac:cxnSpMkLst>
        </pc:cxnChg>
        <pc:cxnChg chg="del mod">
          <ac:chgData name="Yenidogan, Berna" userId="51bd40ea-79aa-4121-96a7-f03806e1d60f" providerId="ADAL" clId="{806C32B3-91C6-426B-AD6A-C3950FE8F840}" dt="2021-02-16T14:19:33.367" v="25" actId="478"/>
          <ac:cxnSpMkLst>
            <pc:docMk/>
            <pc:sldMk cId="2874716418" sldId="2141412471"/>
            <ac:cxnSpMk id="44" creationId="{6C10EB95-D156-4C26-8612-2FCE46D3631B}"/>
          </ac:cxnSpMkLst>
        </pc:cxnChg>
        <pc:cxnChg chg="del mod">
          <ac:chgData name="Yenidogan, Berna" userId="51bd40ea-79aa-4121-96a7-f03806e1d60f" providerId="ADAL" clId="{806C32B3-91C6-426B-AD6A-C3950FE8F840}" dt="2021-02-16T14:19:33.367" v="25" actId="478"/>
          <ac:cxnSpMkLst>
            <pc:docMk/>
            <pc:sldMk cId="2874716418" sldId="2141412471"/>
            <ac:cxnSpMk id="46" creationId="{299EDE22-BB7A-455F-AC23-AE1C639E6467}"/>
          </ac:cxnSpMkLst>
        </pc:cxnChg>
        <pc:cxnChg chg="del">
          <ac:chgData name="Yenidogan, Berna" userId="51bd40ea-79aa-4121-96a7-f03806e1d60f" providerId="ADAL" clId="{806C32B3-91C6-426B-AD6A-C3950FE8F840}" dt="2021-02-16T14:19:33.367" v="25" actId="478"/>
          <ac:cxnSpMkLst>
            <pc:docMk/>
            <pc:sldMk cId="2874716418" sldId="2141412471"/>
            <ac:cxnSpMk id="182" creationId="{201D3E53-047F-4066-A27C-E3E58E5D393F}"/>
          </ac:cxnSpMkLst>
        </pc:cxnChg>
      </pc:sldChg>
      <pc:sldChg chg="addSp delSp modSp add">
        <pc:chgData name="Yenidogan, Berna" userId="51bd40ea-79aa-4121-96a7-f03806e1d60f" providerId="ADAL" clId="{806C32B3-91C6-426B-AD6A-C3950FE8F840}" dt="2021-02-23T14:59:54.593" v="2109"/>
        <pc:sldMkLst>
          <pc:docMk/>
          <pc:sldMk cId="1919154484" sldId="2141412472"/>
        </pc:sldMkLst>
        <pc:spChg chg="add del mod">
          <ac:chgData name="Yenidogan, Berna" userId="51bd40ea-79aa-4121-96a7-f03806e1d60f" providerId="ADAL" clId="{806C32B3-91C6-426B-AD6A-C3950FE8F840}" dt="2021-02-23T14:59:19.759" v="2055" actId="478"/>
          <ac:spMkLst>
            <pc:docMk/>
            <pc:sldMk cId="1919154484" sldId="2141412472"/>
            <ac:spMk id="3" creationId="{E0B53E16-215D-400B-BF58-BD3F0925A038}"/>
          </ac:spMkLst>
        </pc:spChg>
        <pc:spChg chg="add del">
          <ac:chgData name="Yenidogan, Berna" userId="51bd40ea-79aa-4121-96a7-f03806e1d60f" providerId="ADAL" clId="{806C32B3-91C6-426B-AD6A-C3950FE8F840}" dt="2021-02-23T14:57:34.674" v="1827"/>
          <ac:spMkLst>
            <pc:docMk/>
            <pc:sldMk cId="1919154484" sldId="2141412472"/>
            <ac:spMk id="4" creationId="{52318808-5664-463B-8713-06CD45596959}"/>
          </ac:spMkLst>
        </pc:spChg>
        <pc:spChg chg="add mod">
          <ac:chgData name="Yenidogan, Berna" userId="51bd40ea-79aa-4121-96a7-f03806e1d60f" providerId="ADAL" clId="{806C32B3-91C6-426B-AD6A-C3950FE8F840}" dt="2021-02-23T14:59:45.517" v="2108" actId="14100"/>
          <ac:spMkLst>
            <pc:docMk/>
            <pc:sldMk cId="1919154484" sldId="2141412472"/>
            <ac:spMk id="21" creationId="{0111E4B9-5DC3-40B6-86CC-69C5B256F1E3}"/>
          </ac:spMkLst>
        </pc:spChg>
        <pc:spChg chg="add">
          <ac:chgData name="Yenidogan, Berna" userId="51bd40ea-79aa-4121-96a7-f03806e1d60f" providerId="ADAL" clId="{806C32B3-91C6-426B-AD6A-C3950FE8F840}" dt="2021-02-23T14:59:54.593" v="2109"/>
          <ac:spMkLst>
            <pc:docMk/>
            <pc:sldMk cId="1919154484" sldId="2141412472"/>
            <ac:spMk id="22" creationId="{B2EFDACF-BAC6-4F1C-9178-C458AE58D64E}"/>
          </ac:spMkLst>
        </pc:spChg>
        <pc:spChg chg="add">
          <ac:chgData name="Yenidogan, Berna" userId="51bd40ea-79aa-4121-96a7-f03806e1d60f" providerId="ADAL" clId="{806C32B3-91C6-426B-AD6A-C3950FE8F840}" dt="2021-02-23T14:59:54.593" v="2109"/>
          <ac:spMkLst>
            <pc:docMk/>
            <pc:sldMk cId="1919154484" sldId="2141412472"/>
            <ac:spMk id="23" creationId="{D4130322-67CE-4BCE-A830-9D1E2BEF5BA7}"/>
          </ac:spMkLst>
        </pc:spChg>
        <pc:spChg chg="del">
          <ac:chgData name="Yenidogan, Berna" userId="51bd40ea-79aa-4121-96a7-f03806e1d60f" providerId="ADAL" clId="{806C32B3-91C6-426B-AD6A-C3950FE8F840}" dt="2021-02-23T14:44:10.294" v="1709" actId="478"/>
          <ac:spMkLst>
            <pc:docMk/>
            <pc:sldMk cId="1919154484" sldId="2141412472"/>
            <ac:spMk id="36" creationId="{E6A752DB-2ADC-409C-9A8C-C33302D7D054}"/>
          </ac:spMkLst>
        </pc:spChg>
        <pc:spChg chg="del">
          <ac:chgData name="Yenidogan, Berna" userId="51bd40ea-79aa-4121-96a7-f03806e1d60f" providerId="ADAL" clId="{806C32B3-91C6-426B-AD6A-C3950FE8F840}" dt="2021-02-23T14:44:10.294" v="1709" actId="478"/>
          <ac:spMkLst>
            <pc:docMk/>
            <pc:sldMk cId="1919154484" sldId="2141412472"/>
            <ac:spMk id="38" creationId="{939EEC73-D966-4F0E-8A20-5A3AED4121C0}"/>
          </ac:spMkLst>
        </pc:spChg>
        <pc:spChg chg="del">
          <ac:chgData name="Yenidogan, Berna" userId="51bd40ea-79aa-4121-96a7-f03806e1d60f" providerId="ADAL" clId="{806C32B3-91C6-426B-AD6A-C3950FE8F840}" dt="2021-02-23T14:44:10.294" v="1709" actId="478"/>
          <ac:spMkLst>
            <pc:docMk/>
            <pc:sldMk cId="1919154484" sldId="2141412472"/>
            <ac:spMk id="53" creationId="{2E57833D-2883-4459-BDE0-D2155E428FAE}"/>
          </ac:spMkLst>
        </pc:spChg>
        <pc:spChg chg="mod">
          <ac:chgData name="Yenidogan, Berna" userId="51bd40ea-79aa-4121-96a7-f03806e1d60f" providerId="ADAL" clId="{806C32B3-91C6-426B-AD6A-C3950FE8F840}" dt="2021-02-23T14:57:13.845" v="1823" actId="20577"/>
          <ac:spMkLst>
            <pc:docMk/>
            <pc:sldMk cId="1919154484" sldId="2141412472"/>
            <ac:spMk id="74" creationId="{1A681416-8F30-4B85-BE6E-D73B0887CCAF}"/>
          </ac:spMkLst>
        </pc:spChg>
        <pc:picChg chg="add del mod modCrop">
          <ac:chgData name="Yenidogan, Berna" userId="51bd40ea-79aa-4121-96a7-f03806e1d60f" providerId="ADAL" clId="{806C32B3-91C6-426B-AD6A-C3950FE8F840}" dt="2021-02-23T14:59:07.767" v="2026" actId="478"/>
          <ac:picMkLst>
            <pc:docMk/>
            <pc:sldMk cId="1919154484" sldId="2141412472"/>
            <ac:picMk id="2" creationId="{F8EB2839-1D1D-4C43-8272-5CDF4F236B9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1B8663-B7E8-4165-8822-F2E5332D5C8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D6643E-D9DB-4682-B223-972A689C60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359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696913"/>
            <a:ext cx="6184900" cy="3479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B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17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696913"/>
            <a:ext cx="6184900" cy="3479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B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1358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6643E-D9DB-4682-B223-972A689C601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05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6643E-D9DB-4682-B223-972A689C601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912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6643E-D9DB-4682-B223-972A689C601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742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6643E-D9DB-4682-B223-972A689C601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273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EC6FE-6BC1-4F03-920E-553BB36DB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heading</a:t>
            </a:r>
            <a:br>
              <a:rPr lang="en-US"/>
            </a:b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30D13-2D13-4676-950B-A666E8EE44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900" y="1708150"/>
            <a:ext cx="8778875" cy="749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C00BC8-C2FD-4EDC-A9FA-DD974CD75B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9900" y="784225"/>
            <a:ext cx="11252200" cy="29210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subheading</a:t>
            </a:r>
          </a:p>
        </p:txBody>
      </p:sp>
    </p:spTree>
    <p:extLst>
      <p:ext uri="{BB962C8B-B14F-4D97-AF65-F5344CB8AC3E}">
        <p14:creationId xmlns:p14="http://schemas.microsoft.com/office/powerpoint/2010/main" val="197720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EC6FE-6BC1-4F03-920E-553BB36DB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593087"/>
            <a:ext cx="11252200" cy="3824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30D13-2D13-4676-950B-A666E8EE44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900" y="1708150"/>
            <a:ext cx="8778875" cy="749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886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A587A0-CD82-5745-A850-411F184DF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38688"/>
            <a:ext cx="6103938" cy="246062"/>
          </a:xfrm>
        </p:spPr>
        <p:txBody>
          <a:bodyPr/>
          <a:lstStyle>
            <a:lvl1pPr>
              <a:defRPr sz="1050" spc="30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27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Chronicle Display Black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996342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A6FBEBE-5B2C-43EB-BC1A-5AEBBC1A137C}"/>
              </a:ext>
            </a:extLst>
          </p:cNvPr>
          <p:cNvSpPr txBox="1"/>
          <p:nvPr userDrawn="1"/>
        </p:nvSpPr>
        <p:spPr bwMode="gray">
          <a:xfrm>
            <a:off x="10845800" y="0"/>
            <a:ext cx="1003300" cy="8509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r"/>
            <a:r>
              <a:rPr lang="en-US" sz="6000" b="0" spc="100" baseline="0">
                <a:solidFill>
                  <a:srgbClr val="EE1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7A5F35-5464-4C7E-A707-A92E69E1DCB3}"/>
              </a:ext>
            </a:extLst>
          </p:cNvPr>
          <p:cNvSpPr txBox="1"/>
          <p:nvPr userDrawn="1"/>
        </p:nvSpPr>
        <p:spPr bwMode="gray">
          <a:xfrm>
            <a:off x="10845800" y="1756833"/>
            <a:ext cx="1003300" cy="8509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r"/>
            <a:r>
              <a:rPr lang="en-US" sz="6000" b="0" spc="100" baseline="0">
                <a:solidFill>
                  <a:srgbClr val="EE1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19A00D-7736-4150-9E7D-1EFDFF060BA2}"/>
              </a:ext>
            </a:extLst>
          </p:cNvPr>
          <p:cNvSpPr txBox="1"/>
          <p:nvPr userDrawn="1"/>
        </p:nvSpPr>
        <p:spPr bwMode="gray">
          <a:xfrm>
            <a:off x="10845800" y="3513666"/>
            <a:ext cx="1003300" cy="8509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r"/>
            <a:r>
              <a:rPr lang="en-US" sz="6000" b="0" spc="100" baseline="0">
                <a:solidFill>
                  <a:srgbClr val="EE1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169473-EC4A-40F0-9096-094571E10C0D}"/>
              </a:ext>
            </a:extLst>
          </p:cNvPr>
          <p:cNvSpPr txBox="1"/>
          <p:nvPr userDrawn="1"/>
        </p:nvSpPr>
        <p:spPr bwMode="gray">
          <a:xfrm>
            <a:off x="10845800" y="5270500"/>
            <a:ext cx="1003300" cy="8509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r"/>
            <a:r>
              <a:rPr lang="en-US" sz="6000" b="0" spc="100" baseline="0">
                <a:solidFill>
                  <a:srgbClr val="EE1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ABF8371-8D09-4AE6-B9CB-5EE2A74ADE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15400" y="796661"/>
            <a:ext cx="2933700" cy="338137"/>
          </a:xfrm>
          <a:prstGeom prst="rect">
            <a:avLst/>
          </a:prstGeom>
        </p:spPr>
        <p:txBody>
          <a:bodyPr/>
          <a:lstStyle>
            <a:lvl1pPr algn="r">
              <a:defRPr sz="1800" spc="200" baseline="0"/>
            </a:lvl1pPr>
          </a:lstStyle>
          <a:p>
            <a:pPr lvl="0"/>
            <a:r>
              <a:rPr lang="en-US"/>
              <a:t>CLICK TO EDIT TABLE OF CONTENT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1A3CED3-B5A6-459C-B8DC-BB00E72EB7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15400" y="2553494"/>
            <a:ext cx="2933700" cy="338137"/>
          </a:xfrm>
          <a:prstGeom prst="rect">
            <a:avLst/>
          </a:prstGeom>
        </p:spPr>
        <p:txBody>
          <a:bodyPr/>
          <a:lstStyle>
            <a:lvl1pPr algn="r">
              <a:defRPr sz="1800" spc="200" baseline="0"/>
            </a:lvl1pPr>
          </a:lstStyle>
          <a:p>
            <a:pPr lvl="0"/>
            <a:r>
              <a:rPr lang="en-US"/>
              <a:t>CLICK TO EDIT TABLE OF CONTENT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1DA9AF58-A80D-486C-AEA1-1A3F6849C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15400" y="4310327"/>
            <a:ext cx="2933700" cy="338137"/>
          </a:xfrm>
          <a:prstGeom prst="rect">
            <a:avLst/>
          </a:prstGeom>
        </p:spPr>
        <p:txBody>
          <a:bodyPr/>
          <a:lstStyle>
            <a:lvl1pPr algn="r">
              <a:defRPr sz="1800" spc="200" baseline="0"/>
            </a:lvl1pPr>
          </a:lstStyle>
          <a:p>
            <a:pPr lvl="0"/>
            <a:r>
              <a:rPr lang="en-US"/>
              <a:t>CLICK TO EDIT TABLE OF CONTEN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EB213CB4-E3E8-408C-A86B-92BAB5FDA7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5400" y="6067160"/>
            <a:ext cx="2933700" cy="338137"/>
          </a:xfrm>
          <a:prstGeom prst="rect">
            <a:avLst/>
          </a:prstGeom>
        </p:spPr>
        <p:txBody>
          <a:bodyPr/>
          <a:lstStyle>
            <a:lvl1pPr algn="r">
              <a:defRPr sz="1800" spc="200" baseline="0"/>
            </a:lvl1pPr>
          </a:lstStyle>
          <a:p>
            <a:pPr lvl="0"/>
            <a:r>
              <a:rPr lang="en-US"/>
              <a:t>CLICK TO EDIT TABLE OF CONTENT</a:t>
            </a:r>
          </a:p>
        </p:txBody>
      </p:sp>
    </p:spTree>
    <p:extLst>
      <p:ext uri="{BB962C8B-B14F-4D97-AF65-F5344CB8AC3E}">
        <p14:creationId xmlns:p14="http://schemas.microsoft.com/office/powerpoint/2010/main" val="39079284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EC6FE-6BC1-4F03-920E-553BB36DB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593087"/>
            <a:ext cx="11252200" cy="38241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30D13-2D13-4676-950B-A666E8EE44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900" y="1708150"/>
            <a:ext cx="8778875" cy="7493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73270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png"/><Relationship Id="rId5" Type="http://schemas.openxmlformats.org/officeDocument/2006/relationships/tags" Target="../tags/tag2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7"/>
            <a:ext cx="11252200" cy="3824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578375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9D4AE97-B831-42BE-A071-41BD87BD3E6D}"/>
              </a:ext>
            </a:extLst>
          </p:cNvPr>
          <p:cNvSpPr/>
          <p:nvPr userDrawn="1"/>
        </p:nvSpPr>
        <p:spPr bwMode="gray">
          <a:xfrm>
            <a:off x="0" y="402586"/>
            <a:ext cx="310551" cy="692151"/>
          </a:xfrm>
          <a:prstGeom prst="rect">
            <a:avLst/>
          </a:prstGeom>
          <a:solidFill>
            <a:srgbClr val="EE11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aphicFrame>
        <p:nvGraphicFramePr>
          <p:cNvPr id="5" name="Draft Stamp">
            <a:extLst>
              <a:ext uri="{FF2B5EF4-FFF2-40B4-BE49-F238E27FC236}">
                <a16:creationId xmlns:a16="http://schemas.microsoft.com/office/drawing/2014/main" id="{6E6576BE-3C24-4292-88FF-CABC4974DB0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296306105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11372654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1909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69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4" r:id="rId3"/>
    <p:sldLayoutId id="2147483705" r:id="rId4"/>
  </p:sldLayoutIdLst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6D0B3B7-289C-45F4-8F84-3C76E96B17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13" t="25289" b="34891"/>
          <a:stretch/>
        </p:blipFill>
        <p:spPr>
          <a:xfrm>
            <a:off x="7023100" y="-15240"/>
            <a:ext cx="5168900" cy="171907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05DDDF3-968D-4206-A7BC-47ACEE93D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23" b="33869"/>
          <a:stretch/>
        </p:blipFill>
        <p:spPr>
          <a:xfrm flipH="1">
            <a:off x="7023100" y="1707342"/>
            <a:ext cx="5168900" cy="171907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C121E24-41DA-462C-A88D-86AC58D747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" t="18804" b="31289"/>
          <a:stretch/>
        </p:blipFill>
        <p:spPr>
          <a:xfrm flipH="1">
            <a:off x="7023101" y="3429924"/>
            <a:ext cx="5168900" cy="172683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D860B7F-5FEE-476E-A579-784CAD4878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78" b="25078"/>
          <a:stretch/>
        </p:blipFill>
        <p:spPr>
          <a:xfrm flipH="1">
            <a:off x="7023100" y="5160265"/>
            <a:ext cx="5168900" cy="171907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7BC9D0F-5F1B-4057-88E4-DE92879C71FA}"/>
              </a:ext>
            </a:extLst>
          </p:cNvPr>
          <p:cNvSpPr/>
          <p:nvPr userDrawn="1"/>
        </p:nvSpPr>
        <p:spPr bwMode="gray">
          <a:xfrm>
            <a:off x="8788400" y="-36577"/>
            <a:ext cx="3403600" cy="6894577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710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1AE71E6-7778-40BC-9B98-79C1D9B73D61}"/>
              </a:ext>
            </a:extLst>
          </p:cNvPr>
          <p:cNvSpPr txBox="1"/>
          <p:nvPr/>
        </p:nvSpPr>
        <p:spPr bwMode="gray">
          <a:xfrm>
            <a:off x="748144" y="2724727"/>
            <a:ext cx="6271491" cy="2549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36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Master Creation</a:t>
            </a:r>
          </a:p>
        </p:txBody>
      </p:sp>
    </p:spTree>
    <p:extLst>
      <p:ext uri="{BB962C8B-B14F-4D97-AF65-F5344CB8AC3E}">
        <p14:creationId xmlns:p14="http://schemas.microsoft.com/office/powerpoint/2010/main" val="2501025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Right 8">
            <a:extLst>
              <a:ext uri="{FF2B5EF4-FFF2-40B4-BE49-F238E27FC236}">
                <a16:creationId xmlns:a16="http://schemas.microsoft.com/office/drawing/2014/main" id="{CDD2BEB1-104E-4E73-8204-25DDD182F063}"/>
              </a:ext>
            </a:extLst>
          </p:cNvPr>
          <p:cNvSpPr/>
          <p:nvPr/>
        </p:nvSpPr>
        <p:spPr bwMode="gray">
          <a:xfrm>
            <a:off x="469900" y="2242087"/>
            <a:ext cx="11252200" cy="163768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C57E3FC-00F2-4763-88BD-E803703681A5}"/>
              </a:ext>
            </a:extLst>
          </p:cNvPr>
          <p:cNvSpPr/>
          <p:nvPr/>
        </p:nvSpPr>
        <p:spPr>
          <a:xfrm>
            <a:off x="469900" y="1353705"/>
            <a:ext cx="11252199" cy="64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marR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master list of sites running Takeda trials does not exist. Currently, site data is maintained a CRO level and this limits the ability to perform any site level analysis across studies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7F96A0B-D104-4246-B436-03C2D68C1FC1}"/>
              </a:ext>
            </a:extLst>
          </p:cNvPr>
          <p:cNvSpPr/>
          <p:nvPr/>
        </p:nvSpPr>
        <p:spPr>
          <a:xfrm>
            <a:off x="469900" y="2146527"/>
            <a:ext cx="5693833" cy="1828800"/>
          </a:xfrm>
          <a:prstGeom prst="rect">
            <a:avLst/>
          </a:prstGeom>
          <a:noFill/>
          <a:ln w="952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82880" tIns="91440" rIns="182880" bIns="91440" rtlCol="0" anchor="t"/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State and Challeng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ly, CROs maintain their own Site IDs that are sent to Takeda in the form of operational feeds. </a:t>
            </a:r>
          </a:p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example, PRA might designate Site ID 1001 to MGH and PPD might use </a:t>
            </a: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 5876 to identify the same si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ile this works for study level analysis, it doesn’t allow Takeda to perform any cross study/ CRO analysis at a site level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6931D14-CD0C-4FB8-BA0E-0C806A9E0534}"/>
              </a:ext>
            </a:extLst>
          </p:cNvPr>
          <p:cNvSpPr/>
          <p:nvPr/>
        </p:nvSpPr>
        <p:spPr>
          <a:xfrm>
            <a:off x="6320271" y="2146527"/>
            <a:ext cx="5401829" cy="1828800"/>
          </a:xfrm>
          <a:prstGeom prst="rect">
            <a:avLst/>
          </a:prstGeom>
          <a:noFill/>
          <a:ln w="952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82880" tIns="91440" rIns="182880" bIns="91440" rtlCol="0" anchor="t"/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ture State</a:t>
            </a: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consolidated site reference dataset that will enable  -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gorithmically linking same sites using a common ID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oss study analysis by site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formance and quality tracking by site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rical tracking of sites that can be used to enable predictive use cas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C8C747D-9F77-4C9A-B6A0-A78A35EED4BC}"/>
              </a:ext>
            </a:extLst>
          </p:cNvPr>
          <p:cNvSpPr/>
          <p:nvPr/>
        </p:nvSpPr>
        <p:spPr>
          <a:xfrm>
            <a:off x="469901" y="4128069"/>
            <a:ext cx="11252200" cy="11115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>
              <a:spcAft>
                <a:spcPts val="600"/>
              </a:spcAft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 Valu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the absence of a MDM based site master, a custom algorithm can help identify common sites. This dataset can then be linked to other clinical data (operations, site metrics, clinical trials, etc.) to perform site level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storical tracking of site performance can be huge input in determining impact to clinical trials (e.g. COVID) and recruiting sites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1C22BE5-9EF6-41B0-9201-510A5087EF53}"/>
              </a:ext>
            </a:extLst>
          </p:cNvPr>
          <p:cNvSpPr/>
          <p:nvPr/>
        </p:nvSpPr>
        <p:spPr>
          <a:xfrm>
            <a:off x="469901" y="5392411"/>
            <a:ext cx="11252200" cy="895777"/>
          </a:xfrm>
          <a:prstGeom prst="rect">
            <a:avLst/>
          </a:prstGeom>
          <a:solidFill>
            <a:srgbClr val="DDEF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>
              <a:spcAft>
                <a:spcPts val="600"/>
              </a:spcAft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do we need to get started?</a:t>
            </a: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lvl="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site attributes (site name, address, zip code, PIs, etc.) for every Takeda trial across CROs</a:t>
            </a:r>
          </a:p>
          <a:p>
            <a:pPr marL="171450" lvl="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tionalization of future </a:t>
            </a: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 cases based on site reference 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2AB8A40B-FC65-4509-ACF5-16E9332F3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0" rtlCol="0" anchor="ctr" anchorCtr="0">
            <a:noAutofit/>
          </a:bodyPr>
          <a:lstStyle/>
          <a:p>
            <a:r>
              <a:rPr lang="en-US" sz="2400" spc="-7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Master</a:t>
            </a:r>
          </a:p>
        </p:txBody>
      </p:sp>
    </p:spTree>
    <p:extLst>
      <p:ext uri="{BB962C8B-B14F-4D97-AF65-F5344CB8AC3E}">
        <p14:creationId xmlns:p14="http://schemas.microsoft.com/office/powerpoint/2010/main" val="2794234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3">
            <a:extLst>
              <a:ext uri="{FF2B5EF4-FFF2-40B4-BE49-F238E27FC236}">
                <a16:creationId xmlns:a16="http://schemas.microsoft.com/office/drawing/2014/main" id="{1A681416-8F30-4B85-BE6E-D73B0887CCAF}"/>
              </a:ext>
            </a:extLst>
          </p:cNvPr>
          <p:cNvSpPr txBox="1">
            <a:spLocks/>
          </p:cNvSpPr>
          <p:nvPr/>
        </p:nvSpPr>
        <p:spPr>
          <a:xfrm>
            <a:off x="469900" y="593087"/>
            <a:ext cx="11252200" cy="3824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defTabSz="1219170">
              <a:spcBef>
                <a:spcPct val="0"/>
              </a:spcBef>
              <a:buNone/>
              <a:defRPr sz="2400" spc="-75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Site Master Creation Approach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232BAF1E-D961-4F9A-9B67-75B43AD77039}"/>
              </a:ext>
            </a:extLst>
          </p:cNvPr>
          <p:cNvSpPr txBox="1"/>
          <p:nvPr/>
        </p:nvSpPr>
        <p:spPr>
          <a:xfrm>
            <a:off x="469900" y="1399215"/>
            <a:ext cx="2587107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Data Extrac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C786EB2-013D-4A69-AA7E-117F715B04C1}"/>
              </a:ext>
            </a:extLst>
          </p:cNvPr>
          <p:cNvSpPr txBox="1"/>
          <p:nvPr/>
        </p:nvSpPr>
        <p:spPr>
          <a:xfrm>
            <a:off x="3348836" y="1399215"/>
            <a:ext cx="5156201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Data Model</a:t>
            </a:r>
          </a:p>
        </p:txBody>
      </p:sp>
      <p:graphicFrame>
        <p:nvGraphicFramePr>
          <p:cNvPr id="138" name="Table 137">
            <a:extLst>
              <a:ext uri="{FF2B5EF4-FFF2-40B4-BE49-F238E27FC236}">
                <a16:creationId xmlns:a16="http://schemas.microsoft.com/office/drawing/2014/main" id="{A6573322-4CD1-44DA-A2F3-57502701BA67}"/>
              </a:ext>
            </a:extLst>
          </p:cNvPr>
          <p:cNvGraphicFramePr>
            <a:graphicFrameLocks noGrp="1"/>
          </p:cNvGraphicFramePr>
          <p:nvPr/>
        </p:nvGraphicFramePr>
        <p:xfrm>
          <a:off x="3348834" y="3849742"/>
          <a:ext cx="5213682" cy="1733556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415574">
                  <a:extLst>
                    <a:ext uri="{9D8B030D-6E8A-4147-A177-3AD203B41FA5}">
                      <a16:colId xmlns:a16="http://schemas.microsoft.com/office/drawing/2014/main" val="3501134916"/>
                    </a:ext>
                  </a:extLst>
                </a:gridCol>
                <a:gridCol w="1369477">
                  <a:extLst>
                    <a:ext uri="{9D8B030D-6E8A-4147-A177-3AD203B41FA5}">
                      <a16:colId xmlns:a16="http://schemas.microsoft.com/office/drawing/2014/main" val="1201390025"/>
                    </a:ext>
                  </a:extLst>
                </a:gridCol>
                <a:gridCol w="1369477">
                  <a:extLst>
                    <a:ext uri="{9D8B030D-6E8A-4147-A177-3AD203B41FA5}">
                      <a16:colId xmlns:a16="http://schemas.microsoft.com/office/drawing/2014/main" val="4027654559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53679787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808761093"/>
                    </a:ext>
                  </a:extLst>
                </a:gridCol>
                <a:gridCol w="554097">
                  <a:extLst>
                    <a:ext uri="{9D8B030D-6E8A-4147-A177-3AD203B41FA5}">
                      <a16:colId xmlns:a16="http://schemas.microsoft.com/office/drawing/2014/main" val="3265315742"/>
                    </a:ext>
                  </a:extLst>
                </a:gridCol>
                <a:gridCol w="499217">
                  <a:extLst>
                    <a:ext uri="{9D8B030D-6E8A-4147-A177-3AD203B41FA5}">
                      <a16:colId xmlns:a16="http://schemas.microsoft.com/office/drawing/2014/main" val="1154925941"/>
                    </a:ext>
                  </a:extLst>
                </a:gridCol>
              </a:tblGrid>
              <a:tr h="392436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ID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Name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Addres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City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State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Country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ite </a:t>
                      </a:r>
                    </a:p>
                    <a:p>
                      <a:pPr algn="ctr" fontAlgn="b"/>
                      <a:r>
                        <a:rPr 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ip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748614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-MBAL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lvd 38 Makedonia Parvo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atreshno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tdeleni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fi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ulgari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60695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2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 BOROUGHS PARTNERSHIP NHS TRUS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5/157 Manchester Road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Wigan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nited Kingdom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WN2 2J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90745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3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SSACHUSETTS GENERAL HOSPITAL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85 Alewife Brook Pkwy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mbridge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S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02138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4098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4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SSACHUSETTS GENERAL HOSPITAL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 Brookline Avenue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oston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SA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02114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509670"/>
                  </a:ext>
                </a:extLst>
              </a:tr>
            </a:tbl>
          </a:graphicData>
        </a:graphic>
      </p:graphicFrame>
      <p:sp>
        <p:nvSpPr>
          <p:cNvPr id="141" name="TextBox 140">
            <a:extLst>
              <a:ext uri="{FF2B5EF4-FFF2-40B4-BE49-F238E27FC236}">
                <a16:creationId xmlns:a16="http://schemas.microsoft.com/office/drawing/2014/main" id="{8E026811-0E6C-43F0-A389-A9E568447109}"/>
              </a:ext>
            </a:extLst>
          </p:cNvPr>
          <p:cNvSpPr txBox="1"/>
          <p:nvPr/>
        </p:nvSpPr>
        <p:spPr>
          <a:xfrm>
            <a:off x="410903" y="2140168"/>
            <a:ext cx="2646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 list of sites and PI’s from CRO and CORE Tab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5DE563D-9736-4EE8-A109-43A1A99F2D4E}"/>
              </a:ext>
            </a:extLst>
          </p:cNvPr>
          <p:cNvSpPr txBox="1"/>
          <p:nvPr/>
        </p:nvSpPr>
        <p:spPr>
          <a:xfrm>
            <a:off x="3348835" y="2123754"/>
            <a:ext cx="51562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data model for Site and PI Master with the following tables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Master reference table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 Master reference table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tocol</a:t>
            </a: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Site reference table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tocol-Site-PI reference table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ount Master Reference Table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 Master Reference Tabl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2E3053BE-599C-4313-89E1-2C65C9D8EAA8}"/>
              </a:ext>
            </a:extLst>
          </p:cNvPr>
          <p:cNvSpPr txBox="1"/>
          <p:nvPr/>
        </p:nvSpPr>
        <p:spPr>
          <a:xfrm>
            <a:off x="8759452" y="2696158"/>
            <a:ext cx="2984234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863" marR="0" lvl="0" indent="-169863" defTabSz="914400" rtl="0" eaLnBrk="1" fontAlgn="auto" latinLnBrk="0" hangingPunct="1">
              <a:spcBef>
                <a:spcPts val="8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 up Site and PI Master data</a:t>
            </a:r>
          </a:p>
          <a:p>
            <a:pPr marL="169863" marR="0" lvl="0" indent="-169863" defTabSz="914400" rtl="0" eaLnBrk="1" fontAlgn="auto" latinLnBrk="0" hangingPunct="1">
              <a:spcBef>
                <a:spcPts val="8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idate site addresses using open source third party solution</a:t>
            </a:r>
          </a:p>
          <a:p>
            <a:pPr marL="169863" marR="0" lvl="0" indent="-169863" defTabSz="914400" rtl="0" eaLnBrk="1" fontAlgn="auto" latinLnBrk="0" hangingPunct="1">
              <a:spcBef>
                <a:spcPts val="8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data completeness</a:t>
            </a:r>
          </a:p>
          <a:p>
            <a:pPr marL="576263" lvl="1" indent="-2286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Name (1133 records)</a:t>
            </a:r>
          </a:p>
          <a:p>
            <a:pPr marL="576263" lvl="1" indent="-2286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Address (15455 records)</a:t>
            </a:r>
          </a:p>
          <a:p>
            <a:pPr marL="576263" lvl="1" indent="-2286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 Name (39882 records)</a:t>
            </a:r>
          </a:p>
          <a:p>
            <a:pPr marL="169863" indent="-169863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eck on additional data source integrations required</a:t>
            </a:r>
          </a:p>
          <a:p>
            <a:pPr marL="169863" indent="-169863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ch out to CROs for missing data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89B961A2-0574-4517-AB6E-E18D22FCBD99}"/>
              </a:ext>
            </a:extLst>
          </p:cNvPr>
          <p:cNvSpPr txBox="1"/>
          <p:nvPr/>
        </p:nvSpPr>
        <p:spPr>
          <a:xfrm>
            <a:off x="8796867" y="1399215"/>
            <a:ext cx="2942035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uration and Cleansing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996EC11-1F74-4EED-973E-8386227ED9D0}"/>
              </a:ext>
            </a:extLst>
          </p:cNvPr>
          <p:cNvGrpSpPr/>
          <p:nvPr/>
        </p:nvGrpSpPr>
        <p:grpSpPr>
          <a:xfrm>
            <a:off x="520870" y="2960373"/>
            <a:ext cx="822428" cy="836122"/>
            <a:chOff x="6028328" y="5420652"/>
            <a:chExt cx="1021556" cy="881210"/>
          </a:xfrm>
        </p:grpSpPr>
        <p:pic>
          <p:nvPicPr>
            <p:cNvPr id="133" name="Graphic 132" descr="Table">
              <a:extLst>
                <a:ext uri="{FF2B5EF4-FFF2-40B4-BE49-F238E27FC236}">
                  <a16:creationId xmlns:a16="http://schemas.microsoft.com/office/drawing/2014/main" id="{657E4079-A621-4C00-88BF-05100D86C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420652"/>
              <a:ext cx="577947" cy="577947"/>
            </a:xfrm>
            <a:prstGeom prst="rect">
              <a:avLst/>
            </a:prstGeom>
          </p:spPr>
        </p:pic>
        <p:pic>
          <p:nvPicPr>
            <p:cNvPr id="134" name="Graphic 133" descr="Table">
              <a:extLst>
                <a:ext uri="{FF2B5EF4-FFF2-40B4-BE49-F238E27FC236}">
                  <a16:creationId xmlns:a16="http://schemas.microsoft.com/office/drawing/2014/main" id="{19341C0F-06CC-4DD7-9961-21A935F783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420652"/>
              <a:ext cx="577947" cy="577947"/>
            </a:xfrm>
            <a:prstGeom prst="rect">
              <a:avLst/>
            </a:prstGeom>
          </p:spPr>
        </p:pic>
        <p:pic>
          <p:nvPicPr>
            <p:cNvPr id="135" name="Graphic 134" descr="Table">
              <a:extLst>
                <a:ext uri="{FF2B5EF4-FFF2-40B4-BE49-F238E27FC236}">
                  <a16:creationId xmlns:a16="http://schemas.microsoft.com/office/drawing/2014/main" id="{2ED49F9D-0965-4D18-B591-3961ED021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723915"/>
              <a:ext cx="577947" cy="577947"/>
            </a:xfrm>
            <a:prstGeom prst="rect">
              <a:avLst/>
            </a:prstGeom>
          </p:spPr>
        </p:pic>
        <p:pic>
          <p:nvPicPr>
            <p:cNvPr id="136" name="Graphic 135" descr="Table">
              <a:extLst>
                <a:ext uri="{FF2B5EF4-FFF2-40B4-BE49-F238E27FC236}">
                  <a16:creationId xmlns:a16="http://schemas.microsoft.com/office/drawing/2014/main" id="{7F34AB7C-FAE3-4410-AA41-F55E669A9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723915"/>
              <a:ext cx="577947" cy="577947"/>
            </a:xfrm>
            <a:prstGeom prst="rect">
              <a:avLst/>
            </a:prstGeom>
          </p:spPr>
        </p:pic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8A0B13E-4783-4ED8-B05C-2FC565568851}"/>
              </a:ext>
            </a:extLst>
          </p:cNvPr>
          <p:cNvGrpSpPr/>
          <p:nvPr/>
        </p:nvGrpSpPr>
        <p:grpSpPr>
          <a:xfrm>
            <a:off x="2014174" y="2960373"/>
            <a:ext cx="822428" cy="836122"/>
            <a:chOff x="6028328" y="5420652"/>
            <a:chExt cx="1021556" cy="881210"/>
          </a:xfrm>
        </p:grpSpPr>
        <p:pic>
          <p:nvPicPr>
            <p:cNvPr id="146" name="Graphic 145" descr="Table">
              <a:extLst>
                <a:ext uri="{FF2B5EF4-FFF2-40B4-BE49-F238E27FC236}">
                  <a16:creationId xmlns:a16="http://schemas.microsoft.com/office/drawing/2014/main" id="{3E59B87B-C1C8-4BA7-A475-1ED59DD7F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420652"/>
              <a:ext cx="577947" cy="577947"/>
            </a:xfrm>
            <a:prstGeom prst="rect">
              <a:avLst/>
            </a:prstGeom>
          </p:spPr>
        </p:pic>
        <p:pic>
          <p:nvPicPr>
            <p:cNvPr id="147" name="Graphic 146" descr="Table">
              <a:extLst>
                <a:ext uri="{FF2B5EF4-FFF2-40B4-BE49-F238E27FC236}">
                  <a16:creationId xmlns:a16="http://schemas.microsoft.com/office/drawing/2014/main" id="{D0F152F5-CA13-4D17-951D-62E8B3D69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420652"/>
              <a:ext cx="577947" cy="577947"/>
            </a:xfrm>
            <a:prstGeom prst="rect">
              <a:avLst/>
            </a:prstGeom>
          </p:spPr>
        </p:pic>
        <p:pic>
          <p:nvPicPr>
            <p:cNvPr id="148" name="Graphic 147" descr="Table">
              <a:extLst>
                <a:ext uri="{FF2B5EF4-FFF2-40B4-BE49-F238E27FC236}">
                  <a16:creationId xmlns:a16="http://schemas.microsoft.com/office/drawing/2014/main" id="{75215CEE-37F8-45A7-918D-3CBCF9362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723915"/>
              <a:ext cx="577947" cy="577947"/>
            </a:xfrm>
            <a:prstGeom prst="rect">
              <a:avLst/>
            </a:prstGeom>
          </p:spPr>
        </p:pic>
        <p:pic>
          <p:nvPicPr>
            <p:cNvPr id="149" name="Graphic 148" descr="Table">
              <a:extLst>
                <a:ext uri="{FF2B5EF4-FFF2-40B4-BE49-F238E27FC236}">
                  <a16:creationId xmlns:a16="http://schemas.microsoft.com/office/drawing/2014/main" id="{AB7687CF-2270-487B-8912-D597BE275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723915"/>
              <a:ext cx="577947" cy="577947"/>
            </a:xfrm>
            <a:prstGeom prst="rect">
              <a:avLst/>
            </a:prstGeom>
          </p:spPr>
        </p:pic>
      </p:grp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A3525DE-2493-4043-B2B0-C61DFB70EA66}"/>
              </a:ext>
            </a:extLst>
          </p:cNvPr>
          <p:cNvSpPr/>
          <p:nvPr/>
        </p:nvSpPr>
        <p:spPr>
          <a:xfrm>
            <a:off x="366039" y="3718937"/>
            <a:ext cx="117852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M_SITE_CO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9C52E38-364B-4260-B06C-52402202405C}"/>
              </a:ext>
            </a:extLst>
          </p:cNvPr>
          <p:cNvCxnSpPr>
            <a:cxnSpLocks/>
            <a:stCxn id="110" idx="3"/>
            <a:endCxn id="111" idx="1"/>
          </p:cNvCxnSpPr>
          <p:nvPr/>
        </p:nvCxnSpPr>
        <p:spPr>
          <a:xfrm>
            <a:off x="3057007" y="1627815"/>
            <a:ext cx="29182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201D3E53-047F-4066-A27C-E3E58E5D393F}"/>
              </a:ext>
            </a:extLst>
          </p:cNvPr>
          <p:cNvCxnSpPr>
            <a:cxnSpLocks/>
          </p:cNvCxnSpPr>
          <p:nvPr/>
        </p:nvCxnSpPr>
        <p:spPr>
          <a:xfrm>
            <a:off x="8505037" y="1627815"/>
            <a:ext cx="29183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B250CB-6B6B-4645-B5C9-54B5C72CA4BA}"/>
              </a:ext>
            </a:extLst>
          </p:cNvPr>
          <p:cNvGrpSpPr/>
          <p:nvPr/>
        </p:nvGrpSpPr>
        <p:grpSpPr>
          <a:xfrm>
            <a:off x="1165628" y="3972869"/>
            <a:ext cx="822428" cy="836122"/>
            <a:chOff x="6028328" y="5420652"/>
            <a:chExt cx="1021556" cy="881210"/>
          </a:xfrm>
        </p:grpSpPr>
        <p:pic>
          <p:nvPicPr>
            <p:cNvPr id="60" name="Graphic 59" descr="Table">
              <a:extLst>
                <a:ext uri="{FF2B5EF4-FFF2-40B4-BE49-F238E27FC236}">
                  <a16:creationId xmlns:a16="http://schemas.microsoft.com/office/drawing/2014/main" id="{8E1D0C4C-3471-4C46-85ED-87787CCF3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420652"/>
              <a:ext cx="577947" cy="577947"/>
            </a:xfrm>
            <a:prstGeom prst="rect">
              <a:avLst/>
            </a:prstGeom>
          </p:spPr>
        </p:pic>
        <p:pic>
          <p:nvPicPr>
            <p:cNvPr id="61" name="Graphic 60" descr="Table">
              <a:extLst>
                <a:ext uri="{FF2B5EF4-FFF2-40B4-BE49-F238E27FC236}">
                  <a16:creationId xmlns:a16="http://schemas.microsoft.com/office/drawing/2014/main" id="{7A10DE11-3A1D-4F5A-9919-EC91CBB8D9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420652"/>
              <a:ext cx="577947" cy="577947"/>
            </a:xfrm>
            <a:prstGeom prst="rect">
              <a:avLst/>
            </a:prstGeom>
          </p:spPr>
        </p:pic>
        <p:pic>
          <p:nvPicPr>
            <p:cNvPr id="62" name="Graphic 61" descr="Table">
              <a:extLst>
                <a:ext uri="{FF2B5EF4-FFF2-40B4-BE49-F238E27FC236}">
                  <a16:creationId xmlns:a16="http://schemas.microsoft.com/office/drawing/2014/main" id="{3105A0F2-157E-40CC-8A44-4295A5408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328" y="5723915"/>
              <a:ext cx="577947" cy="577947"/>
            </a:xfrm>
            <a:prstGeom prst="rect">
              <a:avLst/>
            </a:prstGeom>
          </p:spPr>
        </p:pic>
        <p:pic>
          <p:nvPicPr>
            <p:cNvPr id="63" name="Graphic 62" descr="Table">
              <a:extLst>
                <a:ext uri="{FF2B5EF4-FFF2-40B4-BE49-F238E27FC236}">
                  <a16:creationId xmlns:a16="http://schemas.microsoft.com/office/drawing/2014/main" id="{107E9BC5-73CF-4C12-A8E0-ABD1E8B77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71937" y="5723915"/>
              <a:ext cx="577947" cy="577947"/>
            </a:xfrm>
            <a:prstGeom prst="rect">
              <a:avLst/>
            </a:prstGeom>
          </p:spPr>
        </p:pic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478F199D-66D9-4C9E-9A24-FCF954B94788}"/>
              </a:ext>
            </a:extLst>
          </p:cNvPr>
          <p:cNvSpPr/>
          <p:nvPr/>
        </p:nvSpPr>
        <p:spPr>
          <a:xfrm>
            <a:off x="1602275" y="3718937"/>
            <a:ext cx="16001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tual site activation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BA86336-3092-4D61-B26C-FB8285AF542A}"/>
              </a:ext>
            </a:extLst>
          </p:cNvPr>
          <p:cNvSpPr/>
          <p:nvPr/>
        </p:nvSpPr>
        <p:spPr>
          <a:xfrm>
            <a:off x="813845" y="4747948"/>
            <a:ext cx="147989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M_CRO_CONTA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A39A4D-6ECF-43F0-8B8F-FA7E9EB50E57}"/>
              </a:ext>
            </a:extLst>
          </p:cNvPr>
          <p:cNvSpPr txBox="1"/>
          <p:nvPr/>
        </p:nvSpPr>
        <p:spPr bwMode="gray">
          <a:xfrm>
            <a:off x="4177555" y="5769205"/>
            <a:ext cx="3405794" cy="4752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llustrative Site Master reference Table</a:t>
            </a:r>
          </a:p>
          <a:p>
            <a:pPr algn="ctr"/>
            <a:r>
              <a: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ch </a:t>
            </a:r>
            <a:r>
              <a:rPr lang="en-US" sz="10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_Name</a:t>
            </a:r>
            <a:r>
              <a:rPr lang="en-US" sz="10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 address combination is a unique id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F04CC2D-4DDA-4E2C-A1B9-50060EA66023}"/>
              </a:ext>
            </a:extLst>
          </p:cNvPr>
          <p:cNvSpPr txBox="1"/>
          <p:nvPr/>
        </p:nvSpPr>
        <p:spPr>
          <a:xfrm>
            <a:off x="8796868" y="2000446"/>
            <a:ext cx="1449792" cy="36570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nes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643E5E-DDB1-40B3-A24D-E7B13C150566}"/>
              </a:ext>
            </a:extLst>
          </p:cNvPr>
          <p:cNvSpPr txBox="1"/>
          <p:nvPr/>
        </p:nvSpPr>
        <p:spPr>
          <a:xfrm>
            <a:off x="10331305" y="2000446"/>
            <a:ext cx="1407597" cy="38302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prstClr val="black"/>
                </a:solidFill>
                <a:latin typeface="Calibri" panose="020F0502020204030204"/>
              </a:defRPr>
            </a:lvl1pPr>
          </a:lstStyle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ndardization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C10EB95-D156-4C26-8612-2FCE46D3631B}"/>
              </a:ext>
            </a:extLst>
          </p:cNvPr>
          <p:cNvCxnSpPr>
            <a:cxnSpLocks/>
            <a:endCxn id="42" idx="0"/>
          </p:cNvCxnSpPr>
          <p:nvPr/>
        </p:nvCxnSpPr>
        <p:spPr>
          <a:xfrm flipH="1">
            <a:off x="9521764" y="1856415"/>
            <a:ext cx="578982" cy="14403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99EDE22-BB7A-455F-AC23-AE1C639E6467}"/>
              </a:ext>
            </a:extLst>
          </p:cNvPr>
          <p:cNvCxnSpPr>
            <a:cxnSpLocks/>
            <a:endCxn id="43" idx="0"/>
          </p:cNvCxnSpPr>
          <p:nvPr/>
        </p:nvCxnSpPr>
        <p:spPr>
          <a:xfrm>
            <a:off x="10444433" y="1856415"/>
            <a:ext cx="590671" cy="14403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843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rrow: Down 31">
            <a:extLst>
              <a:ext uri="{FF2B5EF4-FFF2-40B4-BE49-F238E27FC236}">
                <a16:creationId xmlns:a16="http://schemas.microsoft.com/office/drawing/2014/main" id="{29061D3A-AC81-47F0-A048-6F9E33823326}"/>
              </a:ext>
            </a:extLst>
          </p:cNvPr>
          <p:cNvSpPr/>
          <p:nvPr/>
        </p:nvSpPr>
        <p:spPr bwMode="gray">
          <a:xfrm>
            <a:off x="9410692" y="1866900"/>
            <a:ext cx="145862" cy="3028950"/>
          </a:xfrm>
          <a:prstGeom prst="down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6DDAF89A-59A8-4BC5-A02E-58A05A882530}"/>
              </a:ext>
            </a:extLst>
          </p:cNvPr>
          <p:cNvSpPr/>
          <p:nvPr/>
        </p:nvSpPr>
        <p:spPr bwMode="gray">
          <a:xfrm>
            <a:off x="4143375" y="1304924"/>
            <a:ext cx="1057275" cy="476250"/>
          </a:xfrm>
          <a:prstGeom prst="wedgeRoundRectCallou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800" i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800" b="1" i="1" dirty="0">
                <a:solidFill>
                  <a:schemeClr val="bg1"/>
                </a:solidFill>
              </a:rPr>
              <a:t>N</a:t>
            </a:r>
            <a:r>
              <a:rPr lang="en-US" sz="800" i="1" dirty="0">
                <a:solidFill>
                  <a:schemeClr val="bg1"/>
                </a:solidFill>
              </a:rPr>
              <a:t>=n(n-1)/2 candidates for n-sized batch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4" name="Title 3">
            <a:extLst>
              <a:ext uri="{FF2B5EF4-FFF2-40B4-BE49-F238E27FC236}">
                <a16:creationId xmlns:a16="http://schemas.microsoft.com/office/drawing/2014/main" id="{1A681416-8F30-4B85-BE6E-D73B0887CCAF}"/>
              </a:ext>
            </a:extLst>
          </p:cNvPr>
          <p:cNvSpPr txBox="1">
            <a:spLocks/>
          </p:cNvSpPr>
          <p:nvPr/>
        </p:nvSpPr>
        <p:spPr>
          <a:xfrm>
            <a:off x="469900" y="593087"/>
            <a:ext cx="11252200" cy="3824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defTabSz="1219170">
              <a:spcBef>
                <a:spcPct val="0"/>
              </a:spcBef>
              <a:buNone/>
              <a:defRPr sz="2400" spc="-75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Master-data algorithm (</a:t>
            </a:r>
            <a:r>
              <a:rPr lang="en-US" dirty="0"/>
              <a:t>Initial Load)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96F0459-9DD1-4FAB-BC2A-3349EDB2BDE4}"/>
              </a:ext>
            </a:extLst>
          </p:cNvPr>
          <p:cNvSpPr/>
          <p:nvPr/>
        </p:nvSpPr>
        <p:spPr bwMode="gray">
          <a:xfrm>
            <a:off x="469900" y="1866900"/>
            <a:ext cx="2911475" cy="1181100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marL="342900" indent="-342900" algn="ctr">
              <a:lnSpc>
                <a:spcPct val="106000"/>
              </a:lnSpc>
              <a:buFont typeface="Wingdings 2" pitchFamily="18" charset="2"/>
              <a:buAutoNum type="arabicPeriod"/>
            </a:pPr>
            <a:r>
              <a:rPr lang="en-US" sz="1600" b="1" dirty="0">
                <a:solidFill>
                  <a:schemeClr val="bg1"/>
                </a:solidFill>
              </a:rPr>
              <a:t>Initialization</a:t>
            </a:r>
          </a:p>
          <a:p>
            <a:pPr marL="228600" indent="-228600" algn="ctr"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Create the </a:t>
            </a:r>
            <a:r>
              <a:rPr lang="en-US" sz="900" b="1" dirty="0" err="1">
                <a:solidFill>
                  <a:schemeClr val="bg1"/>
                </a:solidFill>
              </a:rPr>
              <a:t>DataFrame</a:t>
            </a:r>
            <a:r>
              <a:rPr lang="en-US" sz="900" b="1" dirty="0">
                <a:solidFill>
                  <a:schemeClr val="bg1"/>
                </a:solidFill>
              </a:rPr>
              <a:t> of all sources, Threshold-parameters, and set of Fields for generating match-scores</a:t>
            </a:r>
          </a:p>
          <a:p>
            <a:pPr marL="228600" indent="-228600" algn="ctr"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Get the set of countries in </a:t>
            </a:r>
            <a:r>
              <a:rPr lang="en-US" sz="900" b="1" dirty="0" err="1">
                <a:solidFill>
                  <a:schemeClr val="bg1"/>
                </a:solidFill>
              </a:rPr>
              <a:t>DataFrame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59430AE-BF77-45B0-9B16-976CAFDD6232}"/>
              </a:ext>
            </a:extLst>
          </p:cNvPr>
          <p:cNvSpPr/>
          <p:nvPr/>
        </p:nvSpPr>
        <p:spPr bwMode="gray">
          <a:xfrm>
            <a:off x="3671882" y="1866900"/>
            <a:ext cx="3082926" cy="1181100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2. Process country-wise batches:</a:t>
            </a:r>
            <a:endParaRPr lang="en-US" sz="900" b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900" b="1" dirty="0">
                <a:solidFill>
                  <a:schemeClr val="bg1"/>
                </a:solidFill>
              </a:rPr>
              <a:t>Computing candidate-pairs is memory-intensive; crashes for batch-size&gt;2000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9C8A89B-78C8-4B50-83E9-6AB05D91C925}"/>
              </a:ext>
            </a:extLst>
          </p:cNvPr>
          <p:cNvSpPr/>
          <p:nvPr/>
        </p:nvSpPr>
        <p:spPr bwMode="gray">
          <a:xfrm>
            <a:off x="4508495" y="3609976"/>
            <a:ext cx="1409700" cy="1409700"/>
          </a:xfrm>
          <a:prstGeom prst="flowChartConnector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For each </a:t>
            </a:r>
            <a:r>
              <a:rPr lang="en-US" sz="1400" b="1" dirty="0" err="1">
                <a:solidFill>
                  <a:schemeClr val="bg1"/>
                </a:solidFill>
              </a:rPr>
              <a:t>countrybatch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0EABF0-E38C-4223-9B81-D43AAD3019D6}"/>
              </a:ext>
            </a:extLst>
          </p:cNvPr>
          <p:cNvSpPr/>
          <p:nvPr/>
        </p:nvSpPr>
        <p:spPr bwMode="gray">
          <a:xfrm>
            <a:off x="10220325" y="6171081"/>
            <a:ext cx="238126" cy="2381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9B251C-4A31-400E-9DB1-D4F4343A5BE3}"/>
              </a:ext>
            </a:extLst>
          </p:cNvPr>
          <p:cNvSpPr txBox="1"/>
          <p:nvPr/>
        </p:nvSpPr>
        <p:spPr bwMode="gray">
          <a:xfrm>
            <a:off x="10563222" y="6171081"/>
            <a:ext cx="600077" cy="238125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0BE642-8EE9-4A2F-A221-14E1A8EC23BD}"/>
              </a:ext>
            </a:extLst>
          </p:cNvPr>
          <p:cNvSpPr txBox="1"/>
          <p:nvPr/>
        </p:nvSpPr>
        <p:spPr bwMode="gray">
          <a:xfrm>
            <a:off x="10563222" y="6417312"/>
            <a:ext cx="238127" cy="200025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6B0CF7-B3F3-4F02-BAF7-45DB29BAE659}"/>
              </a:ext>
            </a:extLst>
          </p:cNvPr>
          <p:cNvSpPr/>
          <p:nvPr/>
        </p:nvSpPr>
        <p:spPr bwMode="gray">
          <a:xfrm>
            <a:off x="10220325" y="6455412"/>
            <a:ext cx="238126" cy="2381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0F49FA8-FB25-4EE2-BC38-243BE977AE91}"/>
              </a:ext>
            </a:extLst>
          </p:cNvPr>
          <p:cNvSpPr/>
          <p:nvPr/>
        </p:nvSpPr>
        <p:spPr bwMode="gray">
          <a:xfrm>
            <a:off x="7856535" y="978569"/>
            <a:ext cx="3082926" cy="101917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3. Clean the </a:t>
            </a:r>
            <a:r>
              <a:rPr lang="en-US" sz="1600" b="1" dirty="0" err="1">
                <a:solidFill>
                  <a:schemeClr val="bg1"/>
                </a:solidFill>
              </a:rPr>
              <a:t>DataFrame</a:t>
            </a:r>
            <a:r>
              <a:rPr lang="en-US" sz="1600" b="1" dirty="0">
                <a:solidFill>
                  <a:schemeClr val="bg1"/>
                </a:solidFill>
              </a:rPr>
              <a:t>:</a:t>
            </a:r>
            <a:endParaRPr lang="en-US" sz="900" b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900" b="1" dirty="0">
                <a:solidFill>
                  <a:schemeClr val="bg1"/>
                </a:solidFill>
              </a:rPr>
              <a:t>Remove special characters and case-sensitivity for score calculation purpose onl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9FAB165-AE26-4FAF-B7F1-AFF0A2095CCB}"/>
              </a:ext>
            </a:extLst>
          </p:cNvPr>
          <p:cNvSpPr/>
          <p:nvPr/>
        </p:nvSpPr>
        <p:spPr bwMode="gray">
          <a:xfrm>
            <a:off x="7537447" y="2133319"/>
            <a:ext cx="3721102" cy="1181100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4. Compute pair-wise scores:</a:t>
            </a:r>
            <a:endParaRPr lang="en-US" sz="900" b="1" dirty="0">
              <a:solidFill>
                <a:schemeClr val="bg1"/>
              </a:solidFill>
            </a:endParaRP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‘</a:t>
            </a:r>
            <a:r>
              <a:rPr lang="en-US" sz="900" b="1" dirty="0" err="1">
                <a:solidFill>
                  <a:schemeClr val="bg1"/>
                </a:solidFill>
              </a:rPr>
              <a:t>RecordLinkage</a:t>
            </a:r>
            <a:r>
              <a:rPr lang="en-US" sz="900" b="1" dirty="0">
                <a:solidFill>
                  <a:schemeClr val="bg1"/>
                </a:solidFill>
              </a:rPr>
              <a:t>’ library: generate scores for </a:t>
            </a:r>
            <a:r>
              <a:rPr lang="en-US" sz="1100" b="1" i="1" dirty="0">
                <a:solidFill>
                  <a:schemeClr val="bg1"/>
                </a:solidFill>
              </a:rPr>
              <a:t>N</a:t>
            </a:r>
            <a:r>
              <a:rPr lang="en-US" sz="900" b="1" dirty="0">
                <a:solidFill>
                  <a:schemeClr val="bg1"/>
                </a:solidFill>
              </a:rPr>
              <a:t> combinations (</a:t>
            </a:r>
            <a:r>
              <a:rPr lang="en-US" sz="900" b="1" dirty="0" err="1">
                <a:solidFill>
                  <a:schemeClr val="bg1"/>
                </a:solidFill>
              </a:rPr>
              <a:t>Levenshtein</a:t>
            </a:r>
            <a:r>
              <a:rPr lang="en-US" sz="900" b="1" dirty="0">
                <a:solidFill>
                  <a:schemeClr val="bg1"/>
                </a:solidFill>
              </a:rPr>
              <a:t> alg. for </a:t>
            </a:r>
            <a:r>
              <a:rPr lang="en-US" sz="900" b="1" dirty="0" err="1">
                <a:solidFill>
                  <a:schemeClr val="bg1"/>
                </a:solidFill>
              </a:rPr>
              <a:t>stringComp</a:t>
            </a:r>
            <a:r>
              <a:rPr lang="en-US" sz="900" b="1" dirty="0">
                <a:solidFill>
                  <a:schemeClr val="bg1"/>
                </a:solidFill>
              </a:rPr>
              <a:t>)</a:t>
            </a: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Scale up the combined-address-comparison-score</a:t>
            </a: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Filter combinations having TOTAL_SCORE&gt; THRESHOLD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90E3AD0-DCFF-40B9-AA18-75E5C97EF174}"/>
              </a:ext>
            </a:extLst>
          </p:cNvPr>
          <p:cNvSpPr/>
          <p:nvPr/>
        </p:nvSpPr>
        <p:spPr bwMode="gray">
          <a:xfrm>
            <a:off x="7686275" y="3449994"/>
            <a:ext cx="3477024" cy="127440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4. Deduplication:</a:t>
            </a:r>
            <a:endParaRPr lang="en-US" sz="900" b="1" dirty="0">
              <a:solidFill>
                <a:schemeClr val="bg1"/>
              </a:solidFill>
            </a:endParaRP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Choose the single-best match when 1 record matches with multiple others</a:t>
            </a: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Remove cyclic dependencies to remove transitivity cases</a:t>
            </a:r>
          </a:p>
          <a:p>
            <a:pPr marL="228600" indent="-228600" algn="ctr">
              <a:lnSpc>
                <a:spcPct val="106000"/>
              </a:lnSpc>
              <a:buAutoNum type="alphaLcPeriod"/>
            </a:pPr>
            <a:r>
              <a:rPr lang="en-US" sz="900" b="1" dirty="0">
                <a:solidFill>
                  <a:schemeClr val="bg1"/>
                </a:solidFill>
              </a:rPr>
              <a:t>Identify the unique list of master record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8929D47-5B79-4E5C-B506-1E3FA50AFF8D}"/>
              </a:ext>
            </a:extLst>
          </p:cNvPr>
          <p:cNvSpPr/>
          <p:nvPr/>
        </p:nvSpPr>
        <p:spPr bwMode="gray">
          <a:xfrm>
            <a:off x="7883324" y="4859975"/>
            <a:ext cx="3082926" cy="101917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5. Report Generation:</a:t>
            </a:r>
            <a:endParaRPr lang="en-US" sz="900" b="1" dirty="0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900" b="1" dirty="0">
                <a:solidFill>
                  <a:schemeClr val="bg1"/>
                </a:solidFill>
              </a:rPr>
              <a:t>Stitch this result back with original country-batch </a:t>
            </a:r>
            <a:r>
              <a:rPr lang="en-US" sz="900" b="1" dirty="0" err="1">
                <a:solidFill>
                  <a:schemeClr val="bg1"/>
                </a:solidFill>
              </a:rPr>
              <a:t>DataFrame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4D1FF8C5-AB03-47A2-9914-3197265816B3}"/>
              </a:ext>
            </a:extLst>
          </p:cNvPr>
          <p:cNvSpPr/>
          <p:nvPr/>
        </p:nvSpPr>
        <p:spPr bwMode="gray">
          <a:xfrm>
            <a:off x="3381375" y="2381250"/>
            <a:ext cx="290507" cy="152400"/>
          </a:xfrm>
          <a:prstGeom prst="righ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88727E5E-3BEE-44B1-A3FA-AC3D8B884FFD}"/>
              </a:ext>
            </a:extLst>
          </p:cNvPr>
          <p:cNvSpPr/>
          <p:nvPr/>
        </p:nvSpPr>
        <p:spPr bwMode="gray">
          <a:xfrm rot="5400000">
            <a:off x="4943612" y="3256902"/>
            <a:ext cx="539464" cy="166687"/>
          </a:xfrm>
          <a:prstGeom prst="righ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8F9ABBBF-A9D8-4DA4-BC99-35650ECCCBFC}"/>
              </a:ext>
            </a:extLst>
          </p:cNvPr>
          <p:cNvSpPr/>
          <p:nvPr/>
        </p:nvSpPr>
        <p:spPr bwMode="gray">
          <a:xfrm>
            <a:off x="5941759" y="4210051"/>
            <a:ext cx="1249615" cy="188120"/>
          </a:xfrm>
          <a:prstGeom prst="righ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Arrow: Bent-Up 29">
            <a:extLst>
              <a:ext uri="{FF2B5EF4-FFF2-40B4-BE49-F238E27FC236}">
                <a16:creationId xmlns:a16="http://schemas.microsoft.com/office/drawing/2014/main" id="{889740BF-2602-4F2B-8D10-929D748650A4}"/>
              </a:ext>
            </a:extLst>
          </p:cNvPr>
          <p:cNvSpPr/>
          <p:nvPr/>
        </p:nvSpPr>
        <p:spPr bwMode="gray">
          <a:xfrm>
            <a:off x="7019734" y="1456135"/>
            <a:ext cx="315509" cy="2886075"/>
          </a:xfrm>
          <a:prstGeom prst="bentUp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Arrow: Bent 30">
            <a:extLst>
              <a:ext uri="{FF2B5EF4-FFF2-40B4-BE49-F238E27FC236}">
                <a16:creationId xmlns:a16="http://schemas.microsoft.com/office/drawing/2014/main" id="{A4BCD739-CCC2-4FE0-8679-0B6F6AF31BA7}"/>
              </a:ext>
            </a:extLst>
          </p:cNvPr>
          <p:cNvSpPr/>
          <p:nvPr/>
        </p:nvSpPr>
        <p:spPr bwMode="gray">
          <a:xfrm>
            <a:off x="7209683" y="1364066"/>
            <a:ext cx="620215" cy="314311"/>
          </a:xfrm>
          <a:prstGeom prst="ben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53DEF1EE-35A8-4679-ADD9-3D455D20D9A1}"/>
              </a:ext>
            </a:extLst>
          </p:cNvPr>
          <p:cNvSpPr/>
          <p:nvPr/>
        </p:nvSpPr>
        <p:spPr bwMode="gray">
          <a:xfrm rot="10800000">
            <a:off x="5213344" y="5286376"/>
            <a:ext cx="2672295" cy="161364"/>
          </a:xfrm>
          <a:prstGeom prst="righ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F94425DA-65B7-4E53-B6CF-444AD6AD0117}"/>
              </a:ext>
            </a:extLst>
          </p:cNvPr>
          <p:cNvSpPr/>
          <p:nvPr/>
        </p:nvSpPr>
        <p:spPr bwMode="gray">
          <a:xfrm rot="16200000">
            <a:off x="5026091" y="5136726"/>
            <a:ext cx="374505" cy="140404"/>
          </a:xfrm>
          <a:prstGeom prst="rightArrow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65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3">
            <a:extLst>
              <a:ext uri="{FF2B5EF4-FFF2-40B4-BE49-F238E27FC236}">
                <a16:creationId xmlns:a16="http://schemas.microsoft.com/office/drawing/2014/main" id="{1A681416-8F30-4B85-BE6E-D73B0887CCAF}"/>
              </a:ext>
            </a:extLst>
          </p:cNvPr>
          <p:cNvSpPr txBox="1">
            <a:spLocks/>
          </p:cNvSpPr>
          <p:nvPr/>
        </p:nvSpPr>
        <p:spPr>
          <a:xfrm>
            <a:off x="469900" y="593087"/>
            <a:ext cx="11252200" cy="3824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defTabSz="1219170">
              <a:spcBef>
                <a:spcPct val="0"/>
              </a:spcBef>
              <a:buNone/>
              <a:defRPr sz="2400" spc="-75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Site Master Creation Approach – Analysis and Requirements: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22CB3E4-801C-4373-9C07-7E6E7A9F7943}"/>
              </a:ext>
            </a:extLst>
          </p:cNvPr>
          <p:cNvSpPr txBox="1"/>
          <p:nvPr/>
        </p:nvSpPr>
        <p:spPr>
          <a:xfrm>
            <a:off x="469900" y="1399215"/>
            <a:ext cx="4442402" cy="457200"/>
          </a:xfrm>
          <a:prstGeom prst="homePlate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Master Record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6A752DB-2ADC-409C-9A8C-C33302D7D054}"/>
              </a:ext>
            </a:extLst>
          </p:cNvPr>
          <p:cNvSpPr txBox="1"/>
          <p:nvPr/>
        </p:nvSpPr>
        <p:spPr bwMode="gray">
          <a:xfrm>
            <a:off x="469900" y="2013180"/>
            <a:ext cx="4198652" cy="4126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ness</a:t>
            </a:r>
          </a:p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om CRO Address for IQVIA and Site Activations for all other CROs, manually generate a master list of records that includes </a:t>
            </a:r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inct</a:t>
            </a:r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</a:t>
            </a:r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</a:t>
            </a:r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non-null attributes) Sites based on: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Nam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r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ip Code 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e 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mber of Studie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Site Status is also to be considered separately)</a:t>
            </a:r>
          </a:p>
          <a:p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umptions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us Active</a:t>
            </a:r>
          </a:p>
          <a:p>
            <a:pPr algn="l"/>
            <a:endParaRPr lang="en-US" sz="12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ile doing this, also determine the </a:t>
            </a:r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omplete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with null values for above attributes)</a:t>
            </a:r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st of records to request from CROs. Prioritize by CROs: IQVIA and PPD first.</a:t>
            </a:r>
          </a:p>
          <a:p>
            <a:pPr algn="l"/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ndardization</a:t>
            </a:r>
          </a:p>
          <a:p>
            <a:pPr algn="l"/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ze the values of the above attributes for nonstandard spelling conventions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E62F09-5F0F-4DD6-BACA-76866BC2BBDF}"/>
              </a:ext>
            </a:extLst>
          </p:cNvPr>
          <p:cNvSpPr txBox="1"/>
          <p:nvPr/>
        </p:nvSpPr>
        <p:spPr>
          <a:xfrm>
            <a:off x="4815241" y="1399215"/>
            <a:ext cx="3788206" cy="457200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n a Similarity Analysi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39EEC73-D966-4F0E-8A20-5A3AED4121C0}"/>
              </a:ext>
            </a:extLst>
          </p:cNvPr>
          <p:cNvSpPr txBox="1"/>
          <p:nvPr/>
        </p:nvSpPr>
        <p:spPr bwMode="gray">
          <a:xfrm>
            <a:off x="4880919" y="2013180"/>
            <a:ext cx="3342503" cy="31786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lculate the similarity score (e.g. Jaccard distance) of all the site records using an R script</a:t>
            </a:r>
          </a:p>
          <a:p>
            <a:pPr algn="l"/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ermine the threshold (e.g. 80%) above which the records would be considered similar to master record thus should have the same values for all the attributes.</a:t>
            </a:r>
          </a:p>
          <a:p>
            <a:pPr algn="l"/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endParaRPr lang="en-US" sz="12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4AE2288-CD37-4FE2-A21E-EF5CA9F958F0}"/>
              </a:ext>
            </a:extLst>
          </p:cNvPr>
          <p:cNvGrpSpPr/>
          <p:nvPr/>
        </p:nvGrpSpPr>
        <p:grpSpPr>
          <a:xfrm>
            <a:off x="678026" y="1472367"/>
            <a:ext cx="310896" cy="310896"/>
            <a:chOff x="4769352" y="1098695"/>
            <a:chExt cx="310896" cy="31089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74C24AA-29EC-4B08-8F24-77EECEC996BB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84D43A8-ADA3-40D2-8E42-28F9634D50C1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F748D00-B9A9-42BD-9789-3AB782FEE274}"/>
              </a:ext>
            </a:extLst>
          </p:cNvPr>
          <p:cNvGrpSpPr/>
          <p:nvPr/>
        </p:nvGrpSpPr>
        <p:grpSpPr>
          <a:xfrm>
            <a:off x="5210964" y="1472367"/>
            <a:ext cx="310896" cy="310896"/>
            <a:chOff x="4769352" y="1098695"/>
            <a:chExt cx="310896" cy="310896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451FBB9-E9E5-4C50-A3C8-ED2F52BF3289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A797580-9D96-462E-8BED-75BFDA8F55E9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7908001-9662-4D3B-92A4-FF88C80605BF}"/>
              </a:ext>
            </a:extLst>
          </p:cNvPr>
          <p:cNvSpPr txBox="1"/>
          <p:nvPr/>
        </p:nvSpPr>
        <p:spPr>
          <a:xfrm>
            <a:off x="8506385" y="1399215"/>
            <a:ext cx="3215715" cy="457200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Master Tabl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CF708EA-E562-4817-8115-4B32D4FB8569}"/>
              </a:ext>
            </a:extLst>
          </p:cNvPr>
          <p:cNvGrpSpPr/>
          <p:nvPr/>
        </p:nvGrpSpPr>
        <p:grpSpPr>
          <a:xfrm>
            <a:off x="8874738" y="1472367"/>
            <a:ext cx="310896" cy="310896"/>
            <a:chOff x="4769352" y="1098695"/>
            <a:chExt cx="310896" cy="310896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D4DC885A-E435-4842-869F-D266EC975206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BCB59C0-5048-4A1C-899E-1C1D8697D5D0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2E57833D-2883-4459-BDE0-D2155E428FAE}"/>
              </a:ext>
            </a:extLst>
          </p:cNvPr>
          <p:cNvSpPr txBox="1"/>
          <p:nvPr/>
        </p:nvSpPr>
        <p:spPr bwMode="gray">
          <a:xfrm>
            <a:off x="8558770" y="2013180"/>
            <a:ext cx="3163331" cy="34286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a master table with identified by a unique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 with a combination of the below attributes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Nam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r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ip Code 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e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a separate table for maintaining foreign keys (such as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ID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Number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Protocol ID for traceability) to maintain the linkage to the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ster records to other record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 to source and other tables</a:t>
            </a:r>
          </a:p>
        </p:txBody>
      </p:sp>
    </p:spTree>
    <p:extLst>
      <p:ext uri="{BB962C8B-B14F-4D97-AF65-F5344CB8AC3E}">
        <p14:creationId xmlns:p14="http://schemas.microsoft.com/office/powerpoint/2010/main" val="2874716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3">
            <a:extLst>
              <a:ext uri="{FF2B5EF4-FFF2-40B4-BE49-F238E27FC236}">
                <a16:creationId xmlns:a16="http://schemas.microsoft.com/office/drawing/2014/main" id="{1A681416-8F30-4B85-BE6E-D73B0887CCAF}"/>
              </a:ext>
            </a:extLst>
          </p:cNvPr>
          <p:cNvSpPr txBox="1">
            <a:spLocks/>
          </p:cNvSpPr>
          <p:nvPr/>
        </p:nvSpPr>
        <p:spPr>
          <a:xfrm>
            <a:off x="469900" y="593087"/>
            <a:ext cx="11252200" cy="3824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defTabSz="1219170">
              <a:spcBef>
                <a:spcPct val="0"/>
              </a:spcBef>
              <a:buNone/>
              <a:defRPr sz="2400" spc="-75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PI Master Creation Approach – Analysis and Requirements: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22CB3E4-801C-4373-9C07-7E6E7A9F7943}"/>
              </a:ext>
            </a:extLst>
          </p:cNvPr>
          <p:cNvSpPr txBox="1"/>
          <p:nvPr/>
        </p:nvSpPr>
        <p:spPr>
          <a:xfrm>
            <a:off x="469900" y="1399215"/>
            <a:ext cx="4442402" cy="457200"/>
          </a:xfrm>
          <a:prstGeom prst="homePlate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Master Record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E62F09-5F0F-4DD6-BACA-76866BC2BBDF}"/>
              </a:ext>
            </a:extLst>
          </p:cNvPr>
          <p:cNvSpPr txBox="1"/>
          <p:nvPr/>
        </p:nvSpPr>
        <p:spPr>
          <a:xfrm>
            <a:off x="4815241" y="1399215"/>
            <a:ext cx="3788206" cy="457200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n a Similarity Analysi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4AE2288-CD37-4FE2-A21E-EF5CA9F958F0}"/>
              </a:ext>
            </a:extLst>
          </p:cNvPr>
          <p:cNvGrpSpPr/>
          <p:nvPr/>
        </p:nvGrpSpPr>
        <p:grpSpPr>
          <a:xfrm>
            <a:off x="678026" y="1472367"/>
            <a:ext cx="310896" cy="310896"/>
            <a:chOff x="4769352" y="1098695"/>
            <a:chExt cx="310896" cy="31089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74C24AA-29EC-4B08-8F24-77EECEC996BB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84D43A8-ADA3-40D2-8E42-28F9634D50C1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F748D00-B9A9-42BD-9789-3AB782FEE274}"/>
              </a:ext>
            </a:extLst>
          </p:cNvPr>
          <p:cNvGrpSpPr/>
          <p:nvPr/>
        </p:nvGrpSpPr>
        <p:grpSpPr>
          <a:xfrm>
            <a:off x="5210964" y="1472367"/>
            <a:ext cx="310896" cy="310896"/>
            <a:chOff x="4769352" y="1098695"/>
            <a:chExt cx="310896" cy="310896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451FBB9-E9E5-4C50-A3C8-ED2F52BF3289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A797580-9D96-462E-8BED-75BFDA8F55E9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7908001-9662-4D3B-92A4-FF88C80605BF}"/>
              </a:ext>
            </a:extLst>
          </p:cNvPr>
          <p:cNvSpPr txBox="1"/>
          <p:nvPr/>
        </p:nvSpPr>
        <p:spPr>
          <a:xfrm>
            <a:off x="8506385" y="1399215"/>
            <a:ext cx="3215715" cy="457200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wrap="square" lIns="27432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Master Tabl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CF708EA-E562-4817-8115-4B32D4FB8569}"/>
              </a:ext>
            </a:extLst>
          </p:cNvPr>
          <p:cNvGrpSpPr/>
          <p:nvPr/>
        </p:nvGrpSpPr>
        <p:grpSpPr>
          <a:xfrm>
            <a:off x="8874738" y="1472367"/>
            <a:ext cx="310896" cy="310896"/>
            <a:chOff x="4769352" y="1098695"/>
            <a:chExt cx="310896" cy="310896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D4DC885A-E435-4842-869F-D266EC975206}"/>
                </a:ext>
              </a:extLst>
            </p:cNvPr>
            <p:cNvSpPr/>
            <p:nvPr/>
          </p:nvSpPr>
          <p:spPr bwMode="gray">
            <a:xfrm>
              <a:off x="4769352" y="1098695"/>
              <a:ext cx="310896" cy="3108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91440" rIns="8890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BCB59C0-5048-4A1C-899E-1C1D8697D5D0}"/>
                </a:ext>
              </a:extLst>
            </p:cNvPr>
            <p:cNvSpPr/>
            <p:nvPr/>
          </p:nvSpPr>
          <p:spPr bwMode="gray">
            <a:xfrm>
              <a:off x="4810500" y="1139843"/>
              <a:ext cx="228600" cy="2286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88900" tIns="91440" rIns="8890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0111E4B9-5DC3-40B6-86CC-69C5B256F1E3}"/>
              </a:ext>
            </a:extLst>
          </p:cNvPr>
          <p:cNvSpPr txBox="1"/>
          <p:nvPr/>
        </p:nvSpPr>
        <p:spPr bwMode="gray">
          <a:xfrm>
            <a:off x="469900" y="2013180"/>
            <a:ext cx="4579620" cy="4126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ness</a:t>
            </a:r>
          </a:p>
          <a:p>
            <a:pPr algn="l"/>
            <a:r>
              <a:rPr lang="en-US" sz="1200" b="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om CRO Address for IQVIA and Site Activations for all other CROs, manually generate a master list of records that includes </a:t>
            </a:r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tinct</a:t>
            </a:r>
            <a:r>
              <a:rPr lang="en-US" sz="1200" b="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</a:t>
            </a:r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</a:t>
            </a:r>
            <a:r>
              <a:rPr lang="en-US" sz="1200" b="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non-null attributes) Sites based on:</a:t>
            </a:r>
            <a:endParaRPr lang="en-US" sz="1200" dirty="0"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 Nam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mary Email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 Phone Num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 Fax Num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 Start Dat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 End Dat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r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 Line 1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 Line 2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 Line 3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tal Cod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umptions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ues of Contact Type &amp; Contact Role from the list of roles</a:t>
            </a:r>
          </a:p>
          <a:p>
            <a:pPr algn="l"/>
            <a:endParaRPr lang="en-US" sz="1200" b="0" dirty="0"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ile doing this, also determine the </a:t>
            </a:r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omplete </a:t>
            </a:r>
            <a:r>
              <a:rPr lang="en-US" sz="120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with null values for above attributes)</a:t>
            </a:r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st of records to request from CROs. Prioritize by CROs: IQVIA and PPD first.</a:t>
            </a:r>
          </a:p>
          <a:p>
            <a:pPr algn="l"/>
            <a:endParaRPr lang="en-US" sz="1200" dirty="0"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b="1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ndardization</a:t>
            </a:r>
          </a:p>
          <a:p>
            <a:pPr algn="l"/>
            <a:r>
              <a:rPr lang="en-US" sz="1200" dirty="0"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ze the values of the above attributes for nonstandard spelling convention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EFDACF-BAC6-4F1C-9178-C458AE58D64E}"/>
              </a:ext>
            </a:extLst>
          </p:cNvPr>
          <p:cNvSpPr txBox="1"/>
          <p:nvPr/>
        </p:nvSpPr>
        <p:spPr bwMode="gray">
          <a:xfrm>
            <a:off x="4880919" y="2013180"/>
            <a:ext cx="3342503" cy="31786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lculate the similarity score (e.g. Jaccard distance) of all the site records using an R script</a:t>
            </a:r>
          </a:p>
          <a:p>
            <a:pPr algn="l"/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ermine the threshold (e.g. 80%) above which the records would be considered similar to master record thus should have the same values for all the attributes.</a:t>
            </a:r>
          </a:p>
          <a:p>
            <a:pPr algn="l"/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endParaRPr lang="en-US" sz="12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130322-67CE-4BCE-A830-9D1E2BEF5BA7}"/>
              </a:ext>
            </a:extLst>
          </p:cNvPr>
          <p:cNvSpPr txBox="1"/>
          <p:nvPr/>
        </p:nvSpPr>
        <p:spPr bwMode="gray">
          <a:xfrm>
            <a:off x="8558770" y="2013180"/>
            <a:ext cx="3163331" cy="34286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en-US" sz="1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a master table with identified by a unique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 with a combination of the below attributes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 Name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untr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ip Code 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dres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y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e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a separate table for maintaining foreign keys (such as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ID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eNumber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Protocol ID for traceability) to maintain the linkage to the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ster records to other record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 to source and other tables</a:t>
            </a:r>
          </a:p>
        </p:txBody>
      </p:sp>
    </p:spTree>
    <p:extLst>
      <p:ext uri="{BB962C8B-B14F-4D97-AF65-F5344CB8AC3E}">
        <p14:creationId xmlns:p14="http://schemas.microsoft.com/office/powerpoint/2010/main" val="1919154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&amp; SUBHEADI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t" anchorCtr="0">
        <a:noAutofit/>
      </a:bodyPr>
      <a:lstStyle>
        <a:defPPr algn="l">
          <a:defRPr sz="1600" b="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1_TITLE &amp; SUBHEADI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t" anchorCtr="0">
        <a:noAutofit/>
      </a:bodyPr>
      <a:lstStyle>
        <a:defPPr algn="l">
          <a:defRPr sz="1600" b="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27e8510-15d0-4d8d-9abc-9211c5595251">
      <UserInfo>
        <DisplayName>Saigaonkar, Niranjan</DisplayName>
        <AccountId>28</AccountId>
        <AccountType/>
      </UserInfo>
      <UserInfo>
        <DisplayName>Jain, Pulkit</DisplayName>
        <AccountId>47</AccountId>
        <AccountType/>
      </UserInfo>
      <UserInfo>
        <DisplayName>Amin, Hitesh</DisplayName>
        <AccountId>15</AccountId>
        <AccountType/>
      </UserInfo>
      <UserInfo>
        <DisplayName>Mishra, Divya</DisplayName>
        <AccountId>84</AccountId>
        <AccountType/>
      </UserInfo>
      <UserInfo>
        <DisplayName>Gupta, Roopal</DisplayName>
        <AccountId>165</AccountId>
        <AccountType/>
      </UserInfo>
      <UserInfo>
        <DisplayName>Pandey, Bharat</DisplayName>
        <AccountId>17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A4B0C69D1B74E930075773FE831E5" ma:contentTypeVersion="11" ma:contentTypeDescription="Create a new document." ma:contentTypeScope="" ma:versionID="c66c8be124e052daf9738f504812c4f4">
  <xsd:schema xmlns:xsd="http://www.w3.org/2001/XMLSchema" xmlns:xs="http://www.w3.org/2001/XMLSchema" xmlns:p="http://schemas.microsoft.com/office/2006/metadata/properties" xmlns:ns2="0d653d82-5b12-4c25-adbe-d06d43403509" xmlns:ns3="d27e8510-15d0-4d8d-9abc-9211c5595251" targetNamespace="http://schemas.microsoft.com/office/2006/metadata/properties" ma:root="true" ma:fieldsID="af3b9724c27eeb413420b342992812fc" ns2:_="" ns3:_="">
    <xsd:import namespace="0d653d82-5b12-4c25-adbe-d06d43403509"/>
    <xsd:import namespace="d27e8510-15d0-4d8d-9abc-9211c55952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653d82-5b12-4c25-adbe-d06d434035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7e8510-15d0-4d8d-9abc-9211c559525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45C790-4571-469D-89EE-0ACECB66BBB2}">
  <ds:schemaRefs>
    <ds:schemaRef ds:uri="http://schemas.microsoft.com/office/2006/documentManagement/types"/>
    <ds:schemaRef ds:uri="http://www.w3.org/XML/1998/namespace"/>
    <ds:schemaRef ds:uri="0d653d82-5b12-4c25-adbe-d06d43403509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d27e8510-15d0-4d8d-9abc-9211c5595251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B8B97EC-2B8A-4E20-A331-710FBEA0ED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653d82-5b12-4c25-adbe-d06d43403509"/>
    <ds:schemaRef ds:uri="d27e8510-15d0-4d8d-9abc-9211c55952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EB6EC4-5D54-4FE1-992B-F863CD2E5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0</TotalTime>
  <Words>1143</Words>
  <Application>Microsoft Office PowerPoint</Application>
  <PresentationFormat>Widescreen</PresentationFormat>
  <Paragraphs>196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Arial Bold</vt:lpstr>
      <vt:lpstr>Calibri</vt:lpstr>
      <vt:lpstr>Chronicle Display Black</vt:lpstr>
      <vt:lpstr>Open Sans</vt:lpstr>
      <vt:lpstr>Verdana</vt:lpstr>
      <vt:lpstr>Wingdings 2</vt:lpstr>
      <vt:lpstr>TITLE &amp; SUBHEADING</vt:lpstr>
      <vt:lpstr>1_TITLE &amp; SUBHEADING</vt:lpstr>
      <vt:lpstr>think-cell Slide</vt:lpstr>
      <vt:lpstr>PowerPoint Presentation</vt:lpstr>
      <vt:lpstr>Site Master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ving together with Takeda</dc:title>
  <dc:creator>Nguyen, Christian</dc:creator>
  <cp:lastModifiedBy>Deshpande, Vikrant Anil</cp:lastModifiedBy>
  <cp:revision>25</cp:revision>
  <dcterms:created xsi:type="dcterms:W3CDTF">2020-04-26T19:30:26Z</dcterms:created>
  <dcterms:modified xsi:type="dcterms:W3CDTF">2021-03-18T15:0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1A4B0C69D1B74E930075773FE831E5</vt:lpwstr>
  </property>
</Properties>
</file>